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theme/themeOverride5.xml" ContentType="application/vnd.openxmlformats-officedocument.themeOverride+xml"/>
  <Override PartName="/ppt/tags/tag13.xml" ContentType="application/vnd.openxmlformats-officedocument.presentationml.tags+xml"/>
  <Override PartName="/ppt/theme/themeOverride6.xml" ContentType="application/vnd.openxmlformats-officedocument.themeOverride+xml"/>
  <Override PartName="/ppt/tags/tag14.xml" ContentType="application/vnd.openxmlformats-officedocument.presentationml.tags+xml"/>
  <Override PartName="/ppt/theme/themeOverride7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8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9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10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13.xml" ContentType="application/vnd.openxmlformats-officedocument.themeOverride+xml"/>
  <Override PartName="/ppt/tags/tag40.xml" ContentType="application/vnd.openxmlformats-officedocument.presentationml.tags+xml"/>
  <Override PartName="/ppt/theme/themeOverride14.xml" ContentType="application/vnd.openxmlformats-officedocument.themeOverride+xml"/>
  <Override PartName="/ppt/tags/tag41.xml" ContentType="application/vnd.openxmlformats-officedocument.presentationml.tags+xml"/>
  <Override PartName="/ppt/theme/themeOverride15.xml" ContentType="application/vnd.openxmlformats-officedocument.themeOverride+xml"/>
  <Override PartName="/ppt/tags/tag42.xml" ContentType="application/vnd.openxmlformats-officedocument.presentationml.tags+xml"/>
  <Override PartName="/ppt/theme/themeOverride16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17.xml" ContentType="application/vnd.openxmlformats-officedocument.themeOverride+xml"/>
  <Override PartName="/ppt/tags/tag45.xml" ContentType="application/vnd.openxmlformats-officedocument.presentationml.tags+xml"/>
  <Override PartName="/ppt/theme/themeOverride18.xml" ContentType="application/vnd.openxmlformats-officedocument.themeOverride+xml"/>
  <Override PartName="/ppt/tags/tag46.xml" ContentType="application/vnd.openxmlformats-officedocument.presentationml.tags+xml"/>
  <Override PartName="/ppt/theme/themeOverride19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0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1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2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3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4.xml" ContentType="application/vnd.openxmlformats-officedocument.themeOverride+xml"/>
  <Override PartName="/ppt/tags/tag59.xml" ContentType="application/vnd.openxmlformats-officedocument.presentationml.tags+xml"/>
  <Override PartName="/ppt/theme/themeOverride25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6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27.xml" ContentType="application/vnd.openxmlformats-officedocument.themeOverride+xml"/>
  <Override PartName="/ppt/tags/tag67.xml" ContentType="application/vnd.openxmlformats-officedocument.presentationml.tags+xml"/>
  <Override PartName="/ppt/theme/themeOverride28.xml" ContentType="application/vnd.openxmlformats-officedocument.themeOverride+xml"/>
  <Override PartName="/ppt/tags/tag68.xml" ContentType="application/vnd.openxmlformats-officedocument.presentationml.tags+xml"/>
  <Override PartName="/ppt/theme/themeOverride29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30.xml" ContentType="application/vnd.openxmlformats-officedocument.themeOverride+xml"/>
  <Override PartName="/ppt/tags/tag74.xml" ContentType="application/vnd.openxmlformats-officedocument.presentationml.tags+xml"/>
  <Override PartName="/ppt/theme/themeOverride31.xml" ContentType="application/vnd.openxmlformats-officedocument.themeOverride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7"/>
  </p:notesMasterIdLst>
  <p:sldIdLst>
    <p:sldId id="2147380536" r:id="rId2"/>
    <p:sldId id="2147380593" r:id="rId3"/>
    <p:sldId id="2147380592" r:id="rId4"/>
    <p:sldId id="2147380538" r:id="rId5"/>
    <p:sldId id="2147380539" r:id="rId6"/>
    <p:sldId id="2147380540" r:id="rId7"/>
    <p:sldId id="2147380541" r:id="rId8"/>
    <p:sldId id="2147380542" r:id="rId9"/>
    <p:sldId id="2147380543" r:id="rId10"/>
    <p:sldId id="2147380544" r:id="rId11"/>
    <p:sldId id="2147380545" r:id="rId12"/>
    <p:sldId id="2147380546" r:id="rId13"/>
    <p:sldId id="2147380547" r:id="rId14"/>
    <p:sldId id="2147380548" r:id="rId15"/>
    <p:sldId id="2147380549" r:id="rId16"/>
    <p:sldId id="2147380550" r:id="rId17"/>
    <p:sldId id="2147380551" r:id="rId18"/>
    <p:sldId id="2147380552" r:id="rId19"/>
    <p:sldId id="2147380553" r:id="rId20"/>
    <p:sldId id="2147380554" r:id="rId21"/>
    <p:sldId id="2147380555" r:id="rId22"/>
    <p:sldId id="2147380556" r:id="rId23"/>
    <p:sldId id="2147380557" r:id="rId24"/>
    <p:sldId id="2147380558" r:id="rId25"/>
    <p:sldId id="2147380559" r:id="rId26"/>
    <p:sldId id="2147380560" r:id="rId27"/>
    <p:sldId id="2147380561" r:id="rId28"/>
    <p:sldId id="2147380562" r:id="rId29"/>
    <p:sldId id="2147380483" r:id="rId30"/>
    <p:sldId id="2147380482" r:id="rId31"/>
    <p:sldId id="2147380484" r:id="rId32"/>
    <p:sldId id="2147380485" r:id="rId33"/>
    <p:sldId id="2147380486" r:id="rId34"/>
    <p:sldId id="2147380487" r:id="rId35"/>
    <p:sldId id="2147380488" r:id="rId36"/>
    <p:sldId id="2147380489" r:id="rId37"/>
    <p:sldId id="2147380490" r:id="rId38"/>
    <p:sldId id="2147380492" r:id="rId39"/>
    <p:sldId id="2147380493" r:id="rId40"/>
    <p:sldId id="2147380494" r:id="rId41"/>
    <p:sldId id="2147380495" r:id="rId42"/>
    <p:sldId id="2147380496" r:id="rId43"/>
    <p:sldId id="2147380498" r:id="rId44"/>
    <p:sldId id="2147380499" r:id="rId45"/>
    <p:sldId id="2147380500" r:id="rId46"/>
    <p:sldId id="2147380501" r:id="rId47"/>
    <p:sldId id="2147380502" r:id="rId48"/>
    <p:sldId id="2147380503" r:id="rId49"/>
    <p:sldId id="2147380504" r:id="rId50"/>
    <p:sldId id="2147380505" r:id="rId51"/>
    <p:sldId id="2147380506" r:id="rId52"/>
    <p:sldId id="2147380507" r:id="rId53"/>
    <p:sldId id="2147380508" r:id="rId54"/>
    <p:sldId id="2147380509" r:id="rId55"/>
    <p:sldId id="2147380510" r:id="rId56"/>
    <p:sldId id="2147380511" r:id="rId57"/>
    <p:sldId id="2147380513" r:id="rId58"/>
    <p:sldId id="2147380514" r:id="rId59"/>
    <p:sldId id="2147380515" r:id="rId60"/>
    <p:sldId id="2147380517" r:id="rId61"/>
    <p:sldId id="2147380518" r:id="rId62"/>
    <p:sldId id="2147380519" r:id="rId63"/>
    <p:sldId id="2147380520" r:id="rId64"/>
    <p:sldId id="2147380521" r:id="rId65"/>
    <p:sldId id="2147380522" r:id="rId66"/>
    <p:sldId id="2147380523" r:id="rId67"/>
    <p:sldId id="2147380524" r:id="rId68"/>
    <p:sldId id="2147380525" r:id="rId69"/>
    <p:sldId id="2147380526" r:id="rId70"/>
    <p:sldId id="2147380527" r:id="rId71"/>
    <p:sldId id="2147380528" r:id="rId72"/>
    <p:sldId id="2147380529" r:id="rId73"/>
    <p:sldId id="2147380530" r:id="rId74"/>
    <p:sldId id="2147380531" r:id="rId75"/>
    <p:sldId id="2147380532" r:id="rId76"/>
    <p:sldId id="2147380533" r:id="rId77"/>
    <p:sldId id="2147380564" r:id="rId78"/>
    <p:sldId id="2147380565" r:id="rId79"/>
    <p:sldId id="2147380566" r:id="rId80"/>
    <p:sldId id="2147380567" r:id="rId81"/>
    <p:sldId id="2147380568" r:id="rId82"/>
    <p:sldId id="2147380569" r:id="rId83"/>
    <p:sldId id="2147380570" r:id="rId84"/>
    <p:sldId id="2147380571" r:id="rId85"/>
    <p:sldId id="2147380572" r:id="rId86"/>
    <p:sldId id="2147380573" r:id="rId87"/>
    <p:sldId id="2147380574" r:id="rId88"/>
    <p:sldId id="2147380575" r:id="rId89"/>
    <p:sldId id="2147380576" r:id="rId90"/>
    <p:sldId id="2147380577" r:id="rId91"/>
    <p:sldId id="2147380578" r:id="rId92"/>
    <p:sldId id="2147380579" r:id="rId93"/>
    <p:sldId id="2147380580" r:id="rId94"/>
    <p:sldId id="2147380581" r:id="rId95"/>
    <p:sldId id="2147380582" r:id="rId96"/>
    <p:sldId id="2147380583" r:id="rId97"/>
    <p:sldId id="2147380584" r:id="rId98"/>
    <p:sldId id="2147380585" r:id="rId99"/>
    <p:sldId id="2147380586" r:id="rId100"/>
    <p:sldId id="2147380587" r:id="rId101"/>
    <p:sldId id="2147380588" r:id="rId102"/>
    <p:sldId id="2147380589" r:id="rId103"/>
    <p:sldId id="2147380590" r:id="rId104"/>
    <p:sldId id="2147380591" r:id="rId105"/>
    <p:sldId id="2147380535" r:id="rId10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D6E1BB-2252-40F3-BDA7-5F5B2D7A8AB6}" v="13" dt="2024-02-22T16:19:37.6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4" d="100"/>
          <a:sy n="64" d="100"/>
        </p:scale>
        <p:origin x="156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slide" Target="slides/slide101.xml"/><Relationship Id="rId110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13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viewProps" Target="viewProps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dhy, Bimal" userId="8b139dcf-f3e6-4d2e-bf13-fa923e73c8bf" providerId="ADAL" clId="{58060369-652C-4F0D-A227-67EE08962D04}"/>
    <pc:docChg chg="undo custSel addSld delSld modSld">
      <pc:chgData name="Padhy, Bimal" userId="8b139dcf-f3e6-4d2e-bf13-fa923e73c8bf" providerId="ADAL" clId="{58060369-652C-4F0D-A227-67EE08962D04}" dt="2024-02-20T15:11:26.299" v="648"/>
      <pc:docMkLst>
        <pc:docMk/>
      </pc:docMkLst>
      <pc:sldChg chg="modSp add mod">
        <pc:chgData name="Padhy, Bimal" userId="8b139dcf-f3e6-4d2e-bf13-fa923e73c8bf" providerId="ADAL" clId="{58060369-652C-4F0D-A227-67EE08962D04}" dt="2024-02-06T17:31:40.826" v="9"/>
        <pc:sldMkLst>
          <pc:docMk/>
          <pc:sldMk cId="3173190120" sldId="2147380482"/>
        </pc:sldMkLst>
        <pc:spChg chg="mod">
          <ac:chgData name="Padhy, Bimal" userId="8b139dcf-f3e6-4d2e-bf13-fa923e73c8bf" providerId="ADAL" clId="{58060369-652C-4F0D-A227-67EE08962D04}" dt="2024-02-06T17:31:34.960" v="8"/>
          <ac:spMkLst>
            <pc:docMk/>
            <pc:sldMk cId="3173190120" sldId="2147380482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7:31:40.826" v="9"/>
          <ac:spMkLst>
            <pc:docMk/>
            <pc:sldMk cId="3173190120" sldId="2147380482"/>
            <ac:spMk id="7" creationId="{411D760B-D9C5-AD6B-A013-DFFB7A55A45D}"/>
          </ac:spMkLst>
        </pc:spChg>
      </pc:sldChg>
      <pc:sldChg chg="add del">
        <pc:chgData name="Padhy, Bimal" userId="8b139dcf-f3e6-4d2e-bf13-fa923e73c8bf" providerId="ADAL" clId="{58060369-652C-4F0D-A227-67EE08962D04}" dt="2024-02-06T17:29:53.960" v="4" actId="47"/>
        <pc:sldMkLst>
          <pc:docMk/>
          <pc:sldMk cId="1534176680" sldId="2147380483"/>
        </pc:sldMkLst>
      </pc:sldChg>
      <pc:sldChg chg="modSp add mod">
        <pc:chgData name="Padhy, Bimal" userId="8b139dcf-f3e6-4d2e-bf13-fa923e73c8bf" providerId="ADAL" clId="{58060369-652C-4F0D-A227-67EE08962D04}" dt="2024-02-06T18:15:43.854" v="419" actId="113"/>
        <pc:sldMkLst>
          <pc:docMk/>
          <pc:sldMk cId="3767912532" sldId="2147380483"/>
        </pc:sldMkLst>
        <pc:spChg chg="mod">
          <ac:chgData name="Padhy, Bimal" userId="8b139dcf-f3e6-4d2e-bf13-fa923e73c8bf" providerId="ADAL" clId="{58060369-652C-4F0D-A227-67EE08962D04}" dt="2024-02-06T18:15:43.854" v="419" actId="113"/>
          <ac:spMkLst>
            <pc:docMk/>
            <pc:sldMk cId="3767912532" sldId="2147380483"/>
            <ac:spMk id="12" creationId="{868B4745-B863-B59F-5B9A-A631D8C2179C}"/>
          </ac:spMkLst>
        </pc:spChg>
      </pc:sldChg>
      <pc:sldChg chg="add del">
        <pc:chgData name="Padhy, Bimal" userId="8b139dcf-f3e6-4d2e-bf13-fa923e73c8bf" providerId="ADAL" clId="{58060369-652C-4F0D-A227-67EE08962D04}" dt="2024-02-06T17:29:56.544" v="5" actId="47"/>
        <pc:sldMkLst>
          <pc:docMk/>
          <pc:sldMk cId="630249550" sldId="2147380484"/>
        </pc:sldMkLst>
      </pc:sldChg>
      <pc:sldChg chg="modSp add mod">
        <pc:chgData name="Padhy, Bimal" userId="8b139dcf-f3e6-4d2e-bf13-fa923e73c8bf" providerId="ADAL" clId="{58060369-652C-4F0D-A227-67EE08962D04}" dt="2024-02-06T18:15:35.063" v="418" actId="255"/>
        <pc:sldMkLst>
          <pc:docMk/>
          <pc:sldMk cId="2456509228" sldId="2147380484"/>
        </pc:sldMkLst>
        <pc:spChg chg="mod">
          <ac:chgData name="Padhy, Bimal" userId="8b139dcf-f3e6-4d2e-bf13-fa923e73c8bf" providerId="ADAL" clId="{58060369-652C-4F0D-A227-67EE08962D04}" dt="2024-02-06T18:15:35.063" v="418" actId="255"/>
          <ac:spMkLst>
            <pc:docMk/>
            <pc:sldMk cId="2456509228" sldId="2147380484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7:59:48.254" v="290" actId="255"/>
          <ac:spMkLst>
            <pc:docMk/>
            <pc:sldMk cId="2456509228" sldId="2147380484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00:07.058" v="294" actId="255"/>
        <pc:sldMkLst>
          <pc:docMk/>
          <pc:sldMk cId="1497078108" sldId="2147380485"/>
        </pc:sldMkLst>
        <pc:spChg chg="mod">
          <ac:chgData name="Padhy, Bimal" userId="8b139dcf-f3e6-4d2e-bf13-fa923e73c8bf" providerId="ADAL" clId="{58060369-652C-4F0D-A227-67EE08962D04}" dt="2024-02-06T18:00:01.448" v="293" actId="20577"/>
          <ac:spMkLst>
            <pc:docMk/>
            <pc:sldMk cId="1497078108" sldId="2147380485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0:07.058" v="294" actId="255"/>
          <ac:spMkLst>
            <pc:docMk/>
            <pc:sldMk cId="1497078108" sldId="2147380485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20T11:40:27.606" v="644" actId="20577"/>
        <pc:sldMkLst>
          <pc:docMk/>
          <pc:sldMk cId="607044255" sldId="2147380486"/>
        </pc:sldMkLst>
        <pc:spChg chg="mod">
          <ac:chgData name="Padhy, Bimal" userId="8b139dcf-f3e6-4d2e-bf13-fa923e73c8bf" providerId="ADAL" clId="{58060369-652C-4F0D-A227-67EE08962D04}" dt="2024-02-06T18:00:38.314" v="295" actId="255"/>
          <ac:spMkLst>
            <pc:docMk/>
            <pc:sldMk cId="607044255" sldId="2147380486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20T11:40:27.606" v="644" actId="20577"/>
          <ac:spMkLst>
            <pc:docMk/>
            <pc:sldMk cId="607044255" sldId="2147380486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15:10.433" v="417" actId="20577"/>
        <pc:sldMkLst>
          <pc:docMk/>
          <pc:sldMk cId="4175814506" sldId="2147380487"/>
        </pc:sldMkLst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3" creationId="{0D836DBF-A9AE-FC87-19C9-158CD7F4DDF8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4" creationId="{E14C0AE4-8D61-9AF0-0DE7-22F6E18A2036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5" creationId="{51380075-830A-F6F5-433D-D1DB1AA32B12}"/>
          </ac:spMkLst>
        </pc:spChg>
        <pc:spChg chg="del mod">
          <ac:chgData name="Padhy, Bimal" userId="8b139dcf-f3e6-4d2e-bf13-fa923e73c8bf" providerId="ADAL" clId="{58060369-652C-4F0D-A227-67EE08962D04}" dt="2024-02-06T17:40:25.595" v="127" actId="478"/>
          <ac:spMkLst>
            <pc:docMk/>
            <pc:sldMk cId="4175814506" sldId="2147380487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7:40:49.227" v="137" actId="20577"/>
          <ac:spMkLst>
            <pc:docMk/>
            <pc:sldMk cId="4175814506" sldId="2147380487"/>
            <ac:spMk id="7" creationId="{411D760B-D9C5-AD6B-A013-DFFB7A55A45D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8" creationId="{24F09515-7681-1627-F18D-3A3A14DF49BA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10" creationId="{AB60D0C3-DF0B-3684-A09B-11E41BAC8C62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11" creationId="{9CCBF674-3BF1-A29D-5094-F278ADBE172B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12" creationId="{C551AC19-089A-BA4F-49DD-22A98C3D59E6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13" creationId="{A293A6EF-7D68-3036-F0E3-AF51249A6392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20" creationId="{E1115F6B-7423-D3D4-9C31-AB03C19A8883}"/>
          </ac:spMkLst>
        </pc:spChg>
        <pc:spChg chg="add mod">
          <ac:chgData name="Padhy, Bimal" userId="8b139dcf-f3e6-4d2e-bf13-fa923e73c8bf" providerId="ADAL" clId="{58060369-652C-4F0D-A227-67EE08962D04}" dt="2024-02-06T17:39:40.935" v="115"/>
          <ac:spMkLst>
            <pc:docMk/>
            <pc:sldMk cId="4175814506" sldId="2147380487"/>
            <ac:spMk id="22" creationId="{E3ADADE4-36E7-A03F-D4B3-87D92CDB190A}"/>
          </ac:spMkLst>
        </pc:spChg>
        <pc:spChg chg="add mod">
          <ac:chgData name="Padhy, Bimal" userId="8b139dcf-f3e6-4d2e-bf13-fa923e73c8bf" providerId="ADAL" clId="{58060369-652C-4F0D-A227-67EE08962D04}" dt="2024-02-06T17:39:28.424" v="111"/>
          <ac:spMkLst>
            <pc:docMk/>
            <pc:sldMk cId="4175814506" sldId="2147380487"/>
            <ac:spMk id="23" creationId="{AD42B4F8-9A70-87E2-F807-6FA8F24698BA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4" creationId="{1407CB1D-D587-3DEF-C507-9BC5F339C47B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5" creationId="{1E028F43-A77F-38EF-D8DE-F39FB556F9F2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6" creationId="{0A8387C3-F457-6B5C-7D20-67EA4FC88A20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7" creationId="{A018F368-7A03-E8F3-3C21-34E67B6AECD2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8" creationId="{4EEBED92-9406-ADB8-CE50-ADD6BFC203C1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29" creationId="{F3633574-B53D-B768-8C06-D2DC2035E5E7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0" creationId="{643FBE0F-64A4-5839-A545-385F1D0C2684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1" creationId="{D2947C6F-F138-C5AF-1002-6663782FC176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2" creationId="{414F6D51-F6D6-FA98-F0D8-3F792A0C46F7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3" creationId="{6AF90F6B-74BD-E289-1322-3D2CA705A6B5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4" creationId="{6073DCB5-F2FB-D5DF-792D-DA7FDBF83AD6}"/>
          </ac:spMkLst>
        </pc:spChg>
        <pc:spChg chg="add mod">
          <ac:chgData name="Padhy, Bimal" userId="8b139dcf-f3e6-4d2e-bf13-fa923e73c8bf" providerId="ADAL" clId="{58060369-652C-4F0D-A227-67EE08962D04}" dt="2024-02-06T17:39:24.741" v="110"/>
          <ac:spMkLst>
            <pc:docMk/>
            <pc:sldMk cId="4175814506" sldId="2147380487"/>
            <ac:spMk id="36" creationId="{ADA36B44-117D-80B1-9A3F-8E52431ED7E2}"/>
          </ac:spMkLst>
        </pc:spChg>
        <pc:spChg chg="add mod">
          <ac:chgData name="Padhy, Bimal" userId="8b139dcf-f3e6-4d2e-bf13-fa923e73c8bf" providerId="ADAL" clId="{58060369-652C-4F0D-A227-67EE08962D04}" dt="2024-02-06T17:39:28.424" v="111"/>
          <ac:spMkLst>
            <pc:docMk/>
            <pc:sldMk cId="4175814506" sldId="2147380487"/>
            <ac:spMk id="37" creationId="{933EAA5A-F49B-0D13-7957-0BD10D2181DF}"/>
          </ac:spMkLst>
        </pc:spChg>
        <pc:spChg chg="add mod">
          <ac:chgData name="Padhy, Bimal" userId="8b139dcf-f3e6-4d2e-bf13-fa923e73c8bf" providerId="ADAL" clId="{58060369-652C-4F0D-A227-67EE08962D04}" dt="2024-02-06T17:39:59.726" v="121"/>
          <ac:spMkLst>
            <pc:docMk/>
            <pc:sldMk cId="4175814506" sldId="2147380487"/>
            <ac:spMk id="38" creationId="{56B1023E-EA69-028D-D25D-4A9912C87A8A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39" creationId="{D19795CF-1453-4EAD-AAD4-1A32A57B764F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0" creationId="{85276271-C16D-AA84-52C9-64E892D0C878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1" creationId="{8F1BF7B2-E915-9317-AFA7-96BFD43211F5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2" creationId="{B882F61F-23E6-1261-C5D2-0EBC8CCBA56E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3" creationId="{36CDCE42-FF1C-45D6-B157-AC62C71FE243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4" creationId="{5A34F16F-3B26-8EF1-4295-BA03FE2CBA88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5" creationId="{D1BA30A2-03F5-AAB4-C7CC-A2C274E2DA8B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6" creationId="{41484152-AD97-FEF1-3F26-EC6F514D3EBA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7" creationId="{DC2788EA-A65D-842E-3E84-0EE31CE0AA9B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8" creationId="{6B555E75-7687-48EE-DBA3-1B10EDF189BC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49" creationId="{00CD9F93-3944-E8F9-1DB2-EF9A6B72FF33}"/>
          </ac:spMkLst>
        </pc:spChg>
        <pc:spChg chg="add mod">
          <ac:chgData name="Padhy, Bimal" userId="8b139dcf-f3e6-4d2e-bf13-fa923e73c8bf" providerId="ADAL" clId="{58060369-652C-4F0D-A227-67EE08962D04}" dt="2024-02-06T17:39:44.720" v="118"/>
          <ac:spMkLst>
            <pc:docMk/>
            <pc:sldMk cId="4175814506" sldId="2147380487"/>
            <ac:spMk id="51" creationId="{B7B4FF7E-137E-37CD-507D-4FA30270E0CE}"/>
          </ac:spMkLst>
        </pc:spChg>
        <pc:spChg chg="add mod">
          <ac:chgData name="Padhy, Bimal" userId="8b139dcf-f3e6-4d2e-bf13-fa923e73c8bf" providerId="ADAL" clId="{58060369-652C-4F0D-A227-67EE08962D04}" dt="2024-02-06T17:39:59.726" v="121"/>
          <ac:spMkLst>
            <pc:docMk/>
            <pc:sldMk cId="4175814506" sldId="2147380487"/>
            <ac:spMk id="52" creationId="{B501E7E5-2D34-9D92-4CBA-3E3B65352993}"/>
          </ac:spMkLst>
        </pc:spChg>
        <pc:spChg chg="add mod">
          <ac:chgData name="Padhy, Bimal" userId="8b139dcf-f3e6-4d2e-bf13-fa923e73c8bf" providerId="ADAL" clId="{58060369-652C-4F0D-A227-67EE08962D04}" dt="2024-02-06T18:15:10.433" v="417" actId="20577"/>
          <ac:spMkLst>
            <pc:docMk/>
            <pc:sldMk cId="4175814506" sldId="2147380487"/>
            <ac:spMk id="53" creationId="{520AC2CF-BA88-7C31-C90B-6FD66F5E60A3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4" creationId="{6F23CB52-B9AE-ADB8-3228-9958A9EEC040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5" creationId="{D85C6AF8-56E6-AFAA-511D-6519A3E7729E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6" creationId="{AD303D12-EC7F-73AF-6D49-70C838788B6C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7" creationId="{21979782-4E25-5AAF-1541-1D8EE75F279B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8" creationId="{EC0D4CEF-9C99-8E7D-E2A8-1CEACDE123B1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59" creationId="{179C2AAF-077E-76DB-B81C-D65AC785E8DB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0" creationId="{078A2764-5892-647E-D116-75F2A93391C3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1" creationId="{218F504D-20D1-5CDC-8E75-2D44055710E1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2" creationId="{6FB3D04B-4C45-8E25-AE27-5D962229C73F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3" creationId="{CBBAA83A-868A-5A96-AC06-D05266830B48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4" creationId="{9AB0520E-8186-BD95-08D9-AABCB16D3C44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6" creationId="{56C37BC5-020A-3000-DD73-C0B6E9FD6790}"/>
          </ac:spMkLst>
        </pc:spChg>
        <pc:spChg chg="add mod">
          <ac:chgData name="Padhy, Bimal" userId="8b139dcf-f3e6-4d2e-bf13-fa923e73c8bf" providerId="ADAL" clId="{58060369-652C-4F0D-A227-67EE08962D04}" dt="2024-02-06T17:40:14.955" v="125"/>
          <ac:spMkLst>
            <pc:docMk/>
            <pc:sldMk cId="4175814506" sldId="2147380487"/>
            <ac:spMk id="67" creationId="{CF7C6A83-6B78-1353-F99E-C60456230F67}"/>
          </ac:spMkLst>
        </pc:spChg>
        <pc:picChg chg="add mod">
          <ac:chgData name="Padhy, Bimal" userId="8b139dcf-f3e6-4d2e-bf13-fa923e73c8bf" providerId="ADAL" clId="{58060369-652C-4F0D-A227-67EE08962D04}" dt="2024-02-06T17:39:40.935" v="115"/>
          <ac:picMkLst>
            <pc:docMk/>
            <pc:sldMk cId="4175814506" sldId="2147380487"/>
            <ac:picMk id="21" creationId="{6579F8F0-0BE4-896F-B04F-FAA1CD1CA51B}"/>
          </ac:picMkLst>
        </pc:picChg>
        <pc:picChg chg="add mod">
          <ac:chgData name="Padhy, Bimal" userId="8b139dcf-f3e6-4d2e-bf13-fa923e73c8bf" providerId="ADAL" clId="{58060369-652C-4F0D-A227-67EE08962D04}" dt="2024-02-06T17:39:24.741" v="110"/>
          <ac:picMkLst>
            <pc:docMk/>
            <pc:sldMk cId="4175814506" sldId="2147380487"/>
            <ac:picMk id="35" creationId="{D190E13B-35BF-2E12-D65F-2A6001D10036}"/>
          </ac:picMkLst>
        </pc:picChg>
        <pc:picChg chg="add mod">
          <ac:chgData name="Padhy, Bimal" userId="8b139dcf-f3e6-4d2e-bf13-fa923e73c8bf" providerId="ADAL" clId="{58060369-652C-4F0D-A227-67EE08962D04}" dt="2024-02-06T17:39:44.720" v="118"/>
          <ac:picMkLst>
            <pc:docMk/>
            <pc:sldMk cId="4175814506" sldId="2147380487"/>
            <ac:picMk id="50" creationId="{82FFD74D-4E67-DFDE-74D8-FCAA502C8166}"/>
          </ac:picMkLst>
        </pc:picChg>
        <pc:picChg chg="add mod">
          <ac:chgData name="Padhy, Bimal" userId="8b139dcf-f3e6-4d2e-bf13-fa923e73c8bf" providerId="ADAL" clId="{58060369-652C-4F0D-A227-67EE08962D04}" dt="2024-02-06T17:40:14.955" v="125"/>
          <ac:picMkLst>
            <pc:docMk/>
            <pc:sldMk cId="4175814506" sldId="2147380487"/>
            <ac:picMk id="65" creationId="{8CD77D48-2B9C-A0DA-E147-15E34161C7C7}"/>
          </ac:picMkLst>
        </pc:picChg>
      </pc:sldChg>
      <pc:sldChg chg="modSp add mod">
        <pc:chgData name="Padhy, Bimal" userId="8b139dcf-f3e6-4d2e-bf13-fa923e73c8bf" providerId="ADAL" clId="{58060369-652C-4F0D-A227-67EE08962D04}" dt="2024-02-06T18:14:59.123" v="414" actId="255"/>
        <pc:sldMkLst>
          <pc:docMk/>
          <pc:sldMk cId="187430519" sldId="2147380488"/>
        </pc:sldMkLst>
        <pc:spChg chg="mod">
          <ac:chgData name="Padhy, Bimal" userId="8b139dcf-f3e6-4d2e-bf13-fa923e73c8bf" providerId="ADAL" clId="{58060369-652C-4F0D-A227-67EE08962D04}" dt="2024-02-06T18:14:55.009" v="413" actId="255"/>
          <ac:spMkLst>
            <pc:docMk/>
            <pc:sldMk cId="187430519" sldId="2147380488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14:59.123" v="414" actId="255"/>
          <ac:spMkLst>
            <pc:docMk/>
            <pc:sldMk cId="187430519" sldId="2147380488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20T11:41:50.524" v="647" actId="5793"/>
        <pc:sldMkLst>
          <pc:docMk/>
          <pc:sldMk cId="3880537286" sldId="2147380489"/>
        </pc:sldMkLst>
        <pc:spChg chg="mod">
          <ac:chgData name="Padhy, Bimal" userId="8b139dcf-f3e6-4d2e-bf13-fa923e73c8bf" providerId="ADAL" clId="{58060369-652C-4F0D-A227-67EE08962D04}" dt="2024-02-06T18:14:43.872" v="411" actId="255"/>
          <ac:spMkLst>
            <pc:docMk/>
            <pc:sldMk cId="3880537286" sldId="2147380489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20T11:41:50.524" v="647" actId="5793"/>
          <ac:spMkLst>
            <pc:docMk/>
            <pc:sldMk cId="3880537286" sldId="2147380489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11:47.648" v="410" actId="255"/>
        <pc:sldMkLst>
          <pc:docMk/>
          <pc:sldMk cId="3259213675" sldId="2147380490"/>
        </pc:sldMkLst>
        <pc:spChg chg="mod">
          <ac:chgData name="Padhy, Bimal" userId="8b139dcf-f3e6-4d2e-bf13-fa923e73c8bf" providerId="ADAL" clId="{58060369-652C-4F0D-A227-67EE08962D04}" dt="2024-02-06T18:11:42.112" v="409" actId="255"/>
          <ac:spMkLst>
            <pc:docMk/>
            <pc:sldMk cId="3259213675" sldId="2147380490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11:47.648" v="410" actId="255"/>
          <ac:spMkLst>
            <pc:docMk/>
            <pc:sldMk cId="3259213675" sldId="2147380490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11:35.104" v="408" actId="255"/>
        <pc:sldMkLst>
          <pc:docMk/>
          <pc:sldMk cId="3639091013" sldId="2147380491"/>
        </pc:sldMkLst>
        <pc:spChg chg="mod">
          <ac:chgData name="Padhy, Bimal" userId="8b139dcf-f3e6-4d2e-bf13-fa923e73c8bf" providerId="ADAL" clId="{58060369-652C-4F0D-A227-67EE08962D04}" dt="2024-02-06T18:11:29.823" v="407" actId="255"/>
          <ac:spMkLst>
            <pc:docMk/>
            <pc:sldMk cId="3639091013" sldId="2147380491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11:35.104" v="408" actId="255"/>
          <ac:spMkLst>
            <pc:docMk/>
            <pc:sldMk cId="3639091013" sldId="2147380491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10:28.167" v="406" actId="255"/>
        <pc:sldMkLst>
          <pc:docMk/>
          <pc:sldMk cId="2738052781" sldId="2147380492"/>
        </pc:sldMkLst>
        <pc:spChg chg="mod">
          <ac:chgData name="Padhy, Bimal" userId="8b139dcf-f3e6-4d2e-bf13-fa923e73c8bf" providerId="ADAL" clId="{58060369-652C-4F0D-A227-67EE08962D04}" dt="2024-02-06T18:10:23.425" v="405" actId="255"/>
          <ac:spMkLst>
            <pc:docMk/>
            <pc:sldMk cId="2738052781" sldId="2147380492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10:28.167" v="406" actId="255"/>
          <ac:spMkLst>
            <pc:docMk/>
            <pc:sldMk cId="2738052781" sldId="2147380492"/>
            <ac:spMk id="7" creationId="{411D760B-D9C5-AD6B-A013-DFFB7A55A45D}"/>
          </ac:spMkLst>
        </pc:spChg>
      </pc:sldChg>
      <pc:sldChg chg="addSp modSp add mod">
        <pc:chgData name="Padhy, Bimal" userId="8b139dcf-f3e6-4d2e-bf13-fa923e73c8bf" providerId="ADAL" clId="{58060369-652C-4F0D-A227-67EE08962D04}" dt="2024-02-06T18:10:15.465" v="404" actId="20577"/>
        <pc:sldMkLst>
          <pc:docMk/>
          <pc:sldMk cId="4251560597" sldId="2147380493"/>
        </pc:sldMkLst>
        <pc:spChg chg="add mod">
          <ac:chgData name="Padhy, Bimal" userId="8b139dcf-f3e6-4d2e-bf13-fa923e73c8bf" providerId="ADAL" clId="{58060369-652C-4F0D-A227-67EE08962D04}" dt="2024-02-06T18:10:08.437" v="401" actId="1076"/>
          <ac:spMkLst>
            <pc:docMk/>
            <pc:sldMk cId="4251560597" sldId="2147380493"/>
            <ac:spMk id="3" creationId="{DC359865-92F3-2C12-0771-78EFFCD57950}"/>
          </ac:spMkLst>
        </pc:spChg>
        <pc:spChg chg="add mod">
          <ac:chgData name="Padhy, Bimal" userId="8b139dcf-f3e6-4d2e-bf13-fa923e73c8bf" providerId="ADAL" clId="{58060369-652C-4F0D-A227-67EE08962D04}" dt="2024-02-06T18:10:12.537" v="402" actId="1076"/>
          <ac:spMkLst>
            <pc:docMk/>
            <pc:sldMk cId="4251560597" sldId="2147380493"/>
            <ac:spMk id="4" creationId="{7106FB8A-43EB-4DB7-90DD-7C1C9808F608}"/>
          </ac:spMkLst>
        </pc:spChg>
        <pc:spChg chg="mod">
          <ac:chgData name="Padhy, Bimal" userId="8b139dcf-f3e6-4d2e-bf13-fa923e73c8bf" providerId="ADAL" clId="{58060369-652C-4F0D-A227-67EE08962D04}" dt="2024-02-06T18:09:43.591" v="399" actId="255"/>
          <ac:spMkLst>
            <pc:docMk/>
            <pc:sldMk cId="4251560597" sldId="2147380493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10:15.465" v="404" actId="20577"/>
          <ac:spMkLst>
            <pc:docMk/>
            <pc:sldMk cId="4251560597" sldId="2147380493"/>
            <ac:spMk id="7" creationId="{411D760B-D9C5-AD6B-A013-DFFB7A55A45D}"/>
          </ac:spMkLst>
        </pc:spChg>
      </pc:sldChg>
      <pc:sldChg chg="addSp modSp add mod">
        <pc:chgData name="Padhy, Bimal" userId="8b139dcf-f3e6-4d2e-bf13-fa923e73c8bf" providerId="ADAL" clId="{58060369-652C-4F0D-A227-67EE08962D04}" dt="2024-02-06T18:09:30.488" v="398" actId="20577"/>
        <pc:sldMkLst>
          <pc:docMk/>
          <pc:sldMk cId="1135927757" sldId="2147380494"/>
        </pc:sldMkLst>
        <pc:spChg chg="mod">
          <ac:chgData name="Padhy, Bimal" userId="8b139dcf-f3e6-4d2e-bf13-fa923e73c8bf" providerId="ADAL" clId="{58060369-652C-4F0D-A227-67EE08962D04}" dt="2024-02-06T18:09:30.488" v="398" actId="20577"/>
          <ac:spMkLst>
            <pc:docMk/>
            <pc:sldMk cId="1135927757" sldId="2147380494"/>
            <ac:spMk id="6" creationId="{23977658-C41B-081F-392F-088D3863CF94}"/>
          </ac:spMkLst>
        </pc:spChg>
        <pc:picChg chg="add mod">
          <ac:chgData name="Padhy, Bimal" userId="8b139dcf-f3e6-4d2e-bf13-fa923e73c8bf" providerId="ADAL" clId="{58060369-652C-4F0D-A227-67EE08962D04}" dt="2024-02-06T17:49:59.630" v="225" actId="1076"/>
          <ac:picMkLst>
            <pc:docMk/>
            <pc:sldMk cId="1135927757" sldId="2147380494"/>
            <ac:picMk id="3" creationId="{20AA3775-FEEE-0179-98FC-BF94E0041EC5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6T18:09:21.802" v="394" actId="478"/>
        <pc:sldMkLst>
          <pc:docMk/>
          <pc:sldMk cId="254774489" sldId="2147380495"/>
        </pc:sldMkLst>
        <pc:spChg chg="mod">
          <ac:chgData name="Padhy, Bimal" userId="8b139dcf-f3e6-4d2e-bf13-fa923e73c8bf" providerId="ADAL" clId="{58060369-652C-4F0D-A227-67EE08962D04}" dt="2024-02-06T17:50:11.559" v="226"/>
          <ac:spMkLst>
            <pc:docMk/>
            <pc:sldMk cId="254774489" sldId="2147380495"/>
            <ac:spMk id="5" creationId="{6B6EC78A-CA2B-BFF8-1C34-93A34C9AB494}"/>
          </ac:spMkLst>
        </pc:spChg>
        <pc:spChg chg="mod">
          <ac:chgData name="Padhy, Bimal" userId="8b139dcf-f3e6-4d2e-bf13-fa923e73c8bf" providerId="ADAL" clId="{58060369-652C-4F0D-A227-67EE08962D04}" dt="2024-02-06T18:09:19.948" v="393" actId="255"/>
          <ac:spMkLst>
            <pc:docMk/>
            <pc:sldMk cId="254774489" sldId="2147380495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9:21.802" v="394" actId="478"/>
          <ac:spMkLst>
            <pc:docMk/>
            <pc:sldMk cId="254774489" sldId="2147380495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7:50:11.559" v="226"/>
          <ac:grpSpMkLst>
            <pc:docMk/>
            <pc:sldMk cId="254774489" sldId="2147380495"/>
            <ac:grpSpMk id="3" creationId="{FC17237A-6BF6-10BD-24D6-A50B2F3E95FD}"/>
          </ac:grpSpMkLst>
        </pc:grpChg>
        <pc:picChg chg="mod">
          <ac:chgData name="Padhy, Bimal" userId="8b139dcf-f3e6-4d2e-bf13-fa923e73c8bf" providerId="ADAL" clId="{58060369-652C-4F0D-A227-67EE08962D04}" dt="2024-02-06T17:50:11.559" v="226"/>
          <ac:picMkLst>
            <pc:docMk/>
            <pc:sldMk cId="254774489" sldId="2147380495"/>
            <ac:picMk id="4" creationId="{6025647D-4DF4-CD6A-F732-1773EDADC875}"/>
          </ac:picMkLst>
        </pc:picChg>
      </pc:sldChg>
      <pc:sldChg chg="modSp add mod">
        <pc:chgData name="Padhy, Bimal" userId="8b139dcf-f3e6-4d2e-bf13-fa923e73c8bf" providerId="ADAL" clId="{58060369-652C-4F0D-A227-67EE08962D04}" dt="2024-02-06T18:09:12.469" v="392" actId="255"/>
        <pc:sldMkLst>
          <pc:docMk/>
          <pc:sldMk cId="1122223435" sldId="2147380496"/>
        </pc:sldMkLst>
        <pc:spChg chg="mod">
          <ac:chgData name="Padhy, Bimal" userId="8b139dcf-f3e6-4d2e-bf13-fa923e73c8bf" providerId="ADAL" clId="{58060369-652C-4F0D-A227-67EE08962D04}" dt="2024-02-06T18:09:04.870" v="391" actId="255"/>
          <ac:spMkLst>
            <pc:docMk/>
            <pc:sldMk cId="1122223435" sldId="2147380496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9:12.469" v="392" actId="255"/>
          <ac:spMkLst>
            <pc:docMk/>
            <pc:sldMk cId="1122223435" sldId="2147380496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08:47.063" v="390" actId="478"/>
        <pc:sldMkLst>
          <pc:docMk/>
          <pc:sldMk cId="1195623446" sldId="2147380497"/>
        </pc:sldMkLst>
        <pc:spChg chg="mod">
          <ac:chgData name="Padhy, Bimal" userId="8b139dcf-f3e6-4d2e-bf13-fa923e73c8bf" providerId="ADAL" clId="{58060369-652C-4F0D-A227-67EE08962D04}" dt="2024-02-06T17:51:23.745" v="231"/>
          <ac:spMkLst>
            <pc:docMk/>
            <pc:sldMk cId="1195623446" sldId="2147380497"/>
            <ac:spMk id="5" creationId="{64024B8B-3FCC-E260-9AA1-C56E783E4D40}"/>
          </ac:spMkLst>
        </pc:spChg>
        <pc:spChg chg="mod">
          <ac:chgData name="Padhy, Bimal" userId="8b139dcf-f3e6-4d2e-bf13-fa923e73c8bf" providerId="ADAL" clId="{58060369-652C-4F0D-A227-67EE08962D04}" dt="2024-02-06T18:08:45.112" v="389" actId="20577"/>
          <ac:spMkLst>
            <pc:docMk/>
            <pc:sldMk cId="1195623446" sldId="2147380497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8:47.063" v="390" actId="478"/>
          <ac:spMkLst>
            <pc:docMk/>
            <pc:sldMk cId="1195623446" sldId="2147380497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7:51:23.745" v="231"/>
          <ac:grpSpMkLst>
            <pc:docMk/>
            <pc:sldMk cId="1195623446" sldId="2147380497"/>
            <ac:grpSpMk id="3" creationId="{5140E608-3203-7326-489E-6EF3979776DF}"/>
          </ac:grpSpMkLst>
        </pc:grpChg>
        <pc:picChg chg="mod">
          <ac:chgData name="Padhy, Bimal" userId="8b139dcf-f3e6-4d2e-bf13-fa923e73c8bf" providerId="ADAL" clId="{58060369-652C-4F0D-A227-67EE08962D04}" dt="2024-02-06T17:51:23.745" v="231"/>
          <ac:picMkLst>
            <pc:docMk/>
            <pc:sldMk cId="1195623446" sldId="2147380497"/>
            <ac:picMk id="4" creationId="{3B18E26F-AEF7-76CF-4B73-98037DAEFCBE}"/>
          </ac:picMkLst>
        </pc:picChg>
      </pc:sldChg>
      <pc:sldChg chg="modSp add mod">
        <pc:chgData name="Padhy, Bimal" userId="8b139dcf-f3e6-4d2e-bf13-fa923e73c8bf" providerId="ADAL" clId="{58060369-652C-4F0D-A227-67EE08962D04}" dt="2024-02-06T18:08:37.401" v="386" actId="255"/>
        <pc:sldMkLst>
          <pc:docMk/>
          <pc:sldMk cId="2902358316" sldId="2147380498"/>
        </pc:sldMkLst>
        <pc:spChg chg="mod">
          <ac:chgData name="Padhy, Bimal" userId="8b139dcf-f3e6-4d2e-bf13-fa923e73c8bf" providerId="ADAL" clId="{58060369-652C-4F0D-A227-67EE08962D04}" dt="2024-02-06T18:08:32.986" v="385" actId="20577"/>
          <ac:spMkLst>
            <pc:docMk/>
            <pc:sldMk cId="2902358316" sldId="2147380498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8:37.401" v="386" actId="255"/>
          <ac:spMkLst>
            <pc:docMk/>
            <pc:sldMk cId="2902358316" sldId="2147380498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08:21.600" v="381" actId="478"/>
        <pc:sldMkLst>
          <pc:docMk/>
          <pc:sldMk cId="2025090130" sldId="2147380499"/>
        </pc:sldMkLst>
        <pc:spChg chg="mod">
          <ac:chgData name="Padhy, Bimal" userId="8b139dcf-f3e6-4d2e-bf13-fa923e73c8bf" providerId="ADAL" clId="{58060369-652C-4F0D-A227-67EE08962D04}" dt="2024-02-06T18:08:19.121" v="380" actId="20577"/>
          <ac:spMkLst>
            <pc:docMk/>
            <pc:sldMk cId="2025090130" sldId="2147380499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8:21.600" v="381" actId="478"/>
          <ac:spMkLst>
            <pc:docMk/>
            <pc:sldMk cId="2025090130" sldId="2147380499"/>
            <ac:spMk id="7" creationId="{411D760B-D9C5-AD6B-A013-DFFB7A55A45D}"/>
          </ac:spMkLst>
        </pc:spChg>
        <pc:picChg chg="add mod">
          <ac:chgData name="Padhy, Bimal" userId="8b139dcf-f3e6-4d2e-bf13-fa923e73c8bf" providerId="ADAL" clId="{58060369-652C-4F0D-A227-67EE08962D04}" dt="2024-02-06T17:52:01.670" v="235"/>
          <ac:picMkLst>
            <pc:docMk/>
            <pc:sldMk cId="2025090130" sldId="2147380499"/>
            <ac:picMk id="3" creationId="{3C7160DC-443F-D593-8785-A890AA47CEA8}"/>
          </ac:picMkLst>
        </pc:picChg>
      </pc:sldChg>
      <pc:sldChg chg="modSp add mod">
        <pc:chgData name="Padhy, Bimal" userId="8b139dcf-f3e6-4d2e-bf13-fa923e73c8bf" providerId="ADAL" clId="{58060369-652C-4F0D-A227-67EE08962D04}" dt="2024-02-06T18:08:06.928" v="377" actId="255"/>
        <pc:sldMkLst>
          <pc:docMk/>
          <pc:sldMk cId="2472296289" sldId="2147380500"/>
        </pc:sldMkLst>
        <pc:spChg chg="mod">
          <ac:chgData name="Padhy, Bimal" userId="8b139dcf-f3e6-4d2e-bf13-fa923e73c8bf" providerId="ADAL" clId="{58060369-652C-4F0D-A227-67EE08962D04}" dt="2024-02-06T18:08:00.171" v="376" actId="20577"/>
          <ac:spMkLst>
            <pc:docMk/>
            <pc:sldMk cId="2472296289" sldId="2147380500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8:06.928" v="377" actId="255"/>
          <ac:spMkLst>
            <pc:docMk/>
            <pc:sldMk cId="2472296289" sldId="2147380500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07:50.286" v="372" actId="255"/>
        <pc:sldMkLst>
          <pc:docMk/>
          <pc:sldMk cId="881777361" sldId="2147380501"/>
        </pc:sldMkLst>
        <pc:spChg chg="mod">
          <ac:chgData name="Padhy, Bimal" userId="8b139dcf-f3e6-4d2e-bf13-fa923e73c8bf" providerId="ADAL" clId="{58060369-652C-4F0D-A227-67EE08962D04}" dt="2024-02-06T18:07:35.311" v="370" actId="20577"/>
          <ac:spMkLst>
            <pc:docMk/>
            <pc:sldMk cId="881777361" sldId="2147380501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7:50.286" v="372" actId="255"/>
          <ac:spMkLst>
            <pc:docMk/>
            <pc:sldMk cId="881777361" sldId="2147380501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07:24.208" v="367" actId="478"/>
        <pc:sldMkLst>
          <pc:docMk/>
          <pc:sldMk cId="268202994" sldId="2147380502"/>
        </pc:sldMkLst>
        <pc:spChg chg="mod">
          <ac:chgData name="Padhy, Bimal" userId="8b139dcf-f3e6-4d2e-bf13-fa923e73c8bf" providerId="ADAL" clId="{58060369-652C-4F0D-A227-67EE08962D04}" dt="2024-02-06T17:52:53.234" v="241"/>
          <ac:spMkLst>
            <pc:docMk/>
            <pc:sldMk cId="268202994" sldId="2147380502"/>
            <ac:spMk id="5" creationId="{72F9FCB1-B960-54F3-71C0-B6F537AAC5BB}"/>
          </ac:spMkLst>
        </pc:spChg>
        <pc:spChg chg="mod">
          <ac:chgData name="Padhy, Bimal" userId="8b139dcf-f3e6-4d2e-bf13-fa923e73c8bf" providerId="ADAL" clId="{58060369-652C-4F0D-A227-67EE08962D04}" dt="2024-02-06T18:07:21.920" v="366" actId="20577"/>
          <ac:spMkLst>
            <pc:docMk/>
            <pc:sldMk cId="268202994" sldId="2147380502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7:24.208" v="367" actId="478"/>
          <ac:spMkLst>
            <pc:docMk/>
            <pc:sldMk cId="268202994" sldId="2147380502"/>
            <ac:spMk id="7" creationId="{411D760B-D9C5-AD6B-A013-DFFB7A55A45D}"/>
          </ac:spMkLst>
        </pc:spChg>
        <pc:spChg chg="mod">
          <ac:chgData name="Padhy, Bimal" userId="8b139dcf-f3e6-4d2e-bf13-fa923e73c8bf" providerId="ADAL" clId="{58060369-652C-4F0D-A227-67EE08962D04}" dt="2024-02-06T17:52:53.234" v="241"/>
          <ac:spMkLst>
            <pc:docMk/>
            <pc:sldMk cId="268202994" sldId="2147380502"/>
            <ac:spMk id="10" creationId="{4AD1CEF8-78AA-632C-AA7C-0D2B9DFCC99A}"/>
          </ac:spMkLst>
        </pc:spChg>
        <pc:grpChg chg="add mod">
          <ac:chgData name="Padhy, Bimal" userId="8b139dcf-f3e6-4d2e-bf13-fa923e73c8bf" providerId="ADAL" clId="{58060369-652C-4F0D-A227-67EE08962D04}" dt="2024-02-06T17:52:53.234" v="241"/>
          <ac:grpSpMkLst>
            <pc:docMk/>
            <pc:sldMk cId="268202994" sldId="2147380502"/>
            <ac:grpSpMk id="3" creationId="{34B555DF-132E-AB77-F6B8-D09E38DDE87C}"/>
          </ac:grpSpMkLst>
        </pc:grpChg>
        <pc:picChg chg="mod">
          <ac:chgData name="Padhy, Bimal" userId="8b139dcf-f3e6-4d2e-bf13-fa923e73c8bf" providerId="ADAL" clId="{58060369-652C-4F0D-A227-67EE08962D04}" dt="2024-02-06T17:52:53.234" v="241"/>
          <ac:picMkLst>
            <pc:docMk/>
            <pc:sldMk cId="268202994" sldId="2147380502"/>
            <ac:picMk id="4" creationId="{F1DF3B17-5255-62AE-A3BF-F49D5427E6AA}"/>
          </ac:picMkLst>
        </pc:picChg>
        <pc:picChg chg="mod">
          <ac:chgData name="Padhy, Bimal" userId="8b139dcf-f3e6-4d2e-bf13-fa923e73c8bf" providerId="ADAL" clId="{58060369-652C-4F0D-A227-67EE08962D04}" dt="2024-02-06T17:52:53.234" v="241"/>
          <ac:picMkLst>
            <pc:docMk/>
            <pc:sldMk cId="268202994" sldId="2147380502"/>
            <ac:picMk id="8" creationId="{01B25DF8-2DAF-270D-D754-C587D9712336}"/>
          </ac:picMkLst>
        </pc:picChg>
      </pc:sldChg>
      <pc:sldChg chg="modSp add mod">
        <pc:chgData name="Padhy, Bimal" userId="8b139dcf-f3e6-4d2e-bf13-fa923e73c8bf" providerId="ADAL" clId="{58060369-652C-4F0D-A227-67EE08962D04}" dt="2024-02-06T18:07:05.118" v="363" actId="20577"/>
        <pc:sldMkLst>
          <pc:docMk/>
          <pc:sldMk cId="3481779105" sldId="2147380503"/>
        </pc:sldMkLst>
        <pc:spChg chg="mod">
          <ac:chgData name="Padhy, Bimal" userId="8b139dcf-f3e6-4d2e-bf13-fa923e73c8bf" providerId="ADAL" clId="{58060369-652C-4F0D-A227-67EE08962D04}" dt="2024-02-06T18:06:34.968" v="351" actId="20577"/>
          <ac:spMkLst>
            <pc:docMk/>
            <pc:sldMk cId="3481779105" sldId="2147380503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7:05.118" v="363" actId="20577"/>
          <ac:spMkLst>
            <pc:docMk/>
            <pc:sldMk cId="3481779105" sldId="2147380503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06:17.738" v="347" actId="478"/>
        <pc:sldMkLst>
          <pc:docMk/>
          <pc:sldMk cId="1934828273" sldId="2147380504"/>
        </pc:sldMkLst>
        <pc:spChg chg="mod">
          <ac:chgData name="Padhy, Bimal" userId="8b139dcf-f3e6-4d2e-bf13-fa923e73c8bf" providerId="ADAL" clId="{58060369-652C-4F0D-A227-67EE08962D04}" dt="2024-02-06T17:53:41.307" v="250"/>
          <ac:spMkLst>
            <pc:docMk/>
            <pc:sldMk cId="1934828273" sldId="2147380504"/>
            <ac:spMk id="5" creationId="{DDC9D27A-7651-19F3-B6C1-7CEAEF586B95}"/>
          </ac:spMkLst>
        </pc:spChg>
        <pc:spChg chg="mod">
          <ac:chgData name="Padhy, Bimal" userId="8b139dcf-f3e6-4d2e-bf13-fa923e73c8bf" providerId="ADAL" clId="{58060369-652C-4F0D-A227-67EE08962D04}" dt="2024-02-06T18:06:12.830" v="346" actId="20577"/>
          <ac:spMkLst>
            <pc:docMk/>
            <pc:sldMk cId="1934828273" sldId="2147380504"/>
            <ac:spMk id="6" creationId="{23977658-C41B-081F-392F-088D3863CF94}"/>
          </ac:spMkLst>
        </pc:spChg>
        <pc:spChg chg="del mod">
          <ac:chgData name="Padhy, Bimal" userId="8b139dcf-f3e6-4d2e-bf13-fa923e73c8bf" providerId="ADAL" clId="{58060369-652C-4F0D-A227-67EE08962D04}" dt="2024-02-06T18:06:17.738" v="347" actId="478"/>
          <ac:spMkLst>
            <pc:docMk/>
            <pc:sldMk cId="1934828273" sldId="2147380504"/>
            <ac:spMk id="7" creationId="{411D760B-D9C5-AD6B-A013-DFFB7A55A45D}"/>
          </ac:spMkLst>
        </pc:spChg>
        <pc:spChg chg="mod">
          <ac:chgData name="Padhy, Bimal" userId="8b139dcf-f3e6-4d2e-bf13-fa923e73c8bf" providerId="ADAL" clId="{58060369-652C-4F0D-A227-67EE08962D04}" dt="2024-02-06T17:53:45.106" v="251"/>
          <ac:spMkLst>
            <pc:docMk/>
            <pc:sldMk cId="1934828273" sldId="2147380504"/>
            <ac:spMk id="11" creationId="{A72065AE-49D9-AE8C-7EC4-C7B30FE69C08}"/>
          </ac:spMkLst>
        </pc:spChg>
        <pc:grpChg chg="add mod">
          <ac:chgData name="Padhy, Bimal" userId="8b139dcf-f3e6-4d2e-bf13-fa923e73c8bf" providerId="ADAL" clId="{58060369-652C-4F0D-A227-67EE08962D04}" dt="2024-02-06T17:53:41.307" v="250"/>
          <ac:grpSpMkLst>
            <pc:docMk/>
            <pc:sldMk cId="1934828273" sldId="2147380504"/>
            <ac:grpSpMk id="3" creationId="{1512D345-F68E-DF2C-F831-4C4CDEA42659}"/>
          </ac:grpSpMkLst>
        </pc:grpChg>
        <pc:grpChg chg="add mod">
          <ac:chgData name="Padhy, Bimal" userId="8b139dcf-f3e6-4d2e-bf13-fa923e73c8bf" providerId="ADAL" clId="{58060369-652C-4F0D-A227-67EE08962D04}" dt="2024-02-06T17:53:45.106" v="251"/>
          <ac:grpSpMkLst>
            <pc:docMk/>
            <pc:sldMk cId="1934828273" sldId="2147380504"/>
            <ac:grpSpMk id="8" creationId="{F84EDC43-91D5-4DCE-2962-27CD0D0BCED5}"/>
          </ac:grpSpMkLst>
        </pc:grpChg>
        <pc:picChg chg="mod">
          <ac:chgData name="Padhy, Bimal" userId="8b139dcf-f3e6-4d2e-bf13-fa923e73c8bf" providerId="ADAL" clId="{58060369-652C-4F0D-A227-67EE08962D04}" dt="2024-02-06T17:53:41.307" v="250"/>
          <ac:picMkLst>
            <pc:docMk/>
            <pc:sldMk cId="1934828273" sldId="2147380504"/>
            <ac:picMk id="4" creationId="{E02A470E-ED13-890D-665B-D4D538DABE75}"/>
          </ac:picMkLst>
        </pc:picChg>
        <pc:picChg chg="mod">
          <ac:chgData name="Padhy, Bimal" userId="8b139dcf-f3e6-4d2e-bf13-fa923e73c8bf" providerId="ADAL" clId="{58060369-652C-4F0D-A227-67EE08962D04}" dt="2024-02-06T17:53:45.106" v="251"/>
          <ac:picMkLst>
            <pc:docMk/>
            <pc:sldMk cId="1934828273" sldId="2147380504"/>
            <ac:picMk id="10" creationId="{74570CEA-2CB0-EDF9-6738-960FB65A1BD3}"/>
          </ac:picMkLst>
        </pc:picChg>
      </pc:sldChg>
      <pc:sldChg chg="modSp add mod">
        <pc:chgData name="Padhy, Bimal" userId="8b139dcf-f3e6-4d2e-bf13-fa923e73c8bf" providerId="ADAL" clId="{58060369-652C-4F0D-A227-67EE08962D04}" dt="2024-02-06T18:06:04.061" v="343" actId="20577"/>
        <pc:sldMkLst>
          <pc:docMk/>
          <pc:sldMk cId="820294892" sldId="2147380505"/>
        </pc:sldMkLst>
        <pc:spChg chg="mod">
          <ac:chgData name="Padhy, Bimal" userId="8b139dcf-f3e6-4d2e-bf13-fa923e73c8bf" providerId="ADAL" clId="{58060369-652C-4F0D-A227-67EE08962D04}" dt="2024-02-06T18:05:52.595" v="340" actId="20577"/>
          <ac:spMkLst>
            <pc:docMk/>
            <pc:sldMk cId="820294892" sldId="2147380505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6:04.061" v="343" actId="20577"/>
          <ac:spMkLst>
            <pc:docMk/>
            <pc:sldMk cId="820294892" sldId="2147380505"/>
            <ac:spMk id="7" creationId="{411D760B-D9C5-AD6B-A013-DFFB7A55A45D}"/>
          </ac:spMkLst>
        </pc:spChg>
      </pc:sldChg>
      <pc:sldChg chg="add del">
        <pc:chgData name="Padhy, Bimal" userId="8b139dcf-f3e6-4d2e-bf13-fa923e73c8bf" providerId="ADAL" clId="{58060369-652C-4F0D-A227-67EE08962D04}" dt="2024-02-06T17:53:55.661" v="253" actId="47"/>
        <pc:sldMkLst>
          <pc:docMk/>
          <pc:sldMk cId="3197418003" sldId="2147380506"/>
        </pc:sldMkLst>
      </pc:sldChg>
      <pc:sldChg chg="addSp delSp modSp add mod">
        <pc:chgData name="Padhy, Bimal" userId="8b139dcf-f3e6-4d2e-bf13-fa923e73c8bf" providerId="ADAL" clId="{58060369-652C-4F0D-A227-67EE08962D04}" dt="2024-02-06T18:05:37.629" v="337" actId="478"/>
        <pc:sldMkLst>
          <pc:docMk/>
          <pc:sldMk cId="3557658823" sldId="2147380506"/>
        </pc:sldMkLst>
        <pc:spChg chg="mod">
          <ac:chgData name="Padhy, Bimal" userId="8b139dcf-f3e6-4d2e-bf13-fa923e73c8bf" providerId="ADAL" clId="{58060369-652C-4F0D-A227-67EE08962D04}" dt="2024-02-06T17:54:38.573" v="262"/>
          <ac:spMkLst>
            <pc:docMk/>
            <pc:sldMk cId="3557658823" sldId="2147380506"/>
            <ac:spMk id="5" creationId="{45E80D4D-759E-867C-E782-DF6BA0EDE70E}"/>
          </ac:spMkLst>
        </pc:spChg>
        <pc:spChg chg="mod">
          <ac:chgData name="Padhy, Bimal" userId="8b139dcf-f3e6-4d2e-bf13-fa923e73c8bf" providerId="ADAL" clId="{58060369-652C-4F0D-A227-67EE08962D04}" dt="2024-02-06T18:05:34.838" v="336" actId="20577"/>
          <ac:spMkLst>
            <pc:docMk/>
            <pc:sldMk cId="3557658823" sldId="2147380506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5:37.629" v="337" actId="478"/>
          <ac:spMkLst>
            <pc:docMk/>
            <pc:sldMk cId="3557658823" sldId="2147380506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7:54:38.573" v="262"/>
          <ac:grpSpMkLst>
            <pc:docMk/>
            <pc:sldMk cId="3557658823" sldId="2147380506"/>
            <ac:grpSpMk id="3" creationId="{5DB82E53-2F4C-DC08-7C3D-80EE3EBBDAB9}"/>
          </ac:grpSpMkLst>
        </pc:grpChg>
        <pc:picChg chg="mod">
          <ac:chgData name="Padhy, Bimal" userId="8b139dcf-f3e6-4d2e-bf13-fa923e73c8bf" providerId="ADAL" clId="{58060369-652C-4F0D-A227-67EE08962D04}" dt="2024-02-06T17:54:38.573" v="262"/>
          <ac:picMkLst>
            <pc:docMk/>
            <pc:sldMk cId="3557658823" sldId="2147380506"/>
            <ac:picMk id="4" creationId="{286FBBF4-217E-512F-2220-952B9220C16A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6T18:05:26.582" v="333" actId="478"/>
        <pc:sldMkLst>
          <pc:docMk/>
          <pc:sldMk cId="1646380218" sldId="2147380507"/>
        </pc:sldMkLst>
        <pc:spChg chg="mod">
          <ac:chgData name="Padhy, Bimal" userId="8b139dcf-f3e6-4d2e-bf13-fa923e73c8bf" providerId="ADAL" clId="{58060369-652C-4F0D-A227-67EE08962D04}" dt="2024-02-06T17:54:55.547" v="264"/>
          <ac:spMkLst>
            <pc:docMk/>
            <pc:sldMk cId="1646380218" sldId="2147380507"/>
            <ac:spMk id="5" creationId="{88A284F3-828F-5727-70EC-ED74DC8F59C4}"/>
          </ac:spMkLst>
        </pc:spChg>
        <pc:spChg chg="mod">
          <ac:chgData name="Padhy, Bimal" userId="8b139dcf-f3e6-4d2e-bf13-fa923e73c8bf" providerId="ADAL" clId="{58060369-652C-4F0D-A227-67EE08962D04}" dt="2024-02-06T18:05:22.543" v="332" actId="20577"/>
          <ac:spMkLst>
            <pc:docMk/>
            <pc:sldMk cId="1646380218" sldId="2147380507"/>
            <ac:spMk id="6" creationId="{23977658-C41B-081F-392F-088D3863CF94}"/>
          </ac:spMkLst>
        </pc:spChg>
        <pc:spChg chg="del">
          <ac:chgData name="Padhy, Bimal" userId="8b139dcf-f3e6-4d2e-bf13-fa923e73c8bf" providerId="ADAL" clId="{58060369-652C-4F0D-A227-67EE08962D04}" dt="2024-02-06T18:05:26.582" v="333" actId="478"/>
          <ac:spMkLst>
            <pc:docMk/>
            <pc:sldMk cId="1646380218" sldId="2147380507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7:54:55.547" v="264"/>
          <ac:grpSpMkLst>
            <pc:docMk/>
            <pc:sldMk cId="1646380218" sldId="2147380507"/>
            <ac:grpSpMk id="3" creationId="{E35CF9E0-B4AC-F3DD-852F-9D75C78E07FC}"/>
          </ac:grpSpMkLst>
        </pc:grpChg>
        <pc:picChg chg="mod">
          <ac:chgData name="Padhy, Bimal" userId="8b139dcf-f3e6-4d2e-bf13-fa923e73c8bf" providerId="ADAL" clId="{58060369-652C-4F0D-A227-67EE08962D04}" dt="2024-02-06T17:54:55.547" v="264"/>
          <ac:picMkLst>
            <pc:docMk/>
            <pc:sldMk cId="1646380218" sldId="2147380507"/>
            <ac:picMk id="4" creationId="{7755496A-1EF8-D4F8-BB9B-3442A9407825}"/>
          </ac:picMkLst>
        </pc:picChg>
      </pc:sldChg>
      <pc:sldChg chg="add del">
        <pc:chgData name="Padhy, Bimal" userId="8b139dcf-f3e6-4d2e-bf13-fa923e73c8bf" providerId="ADAL" clId="{58060369-652C-4F0D-A227-67EE08962D04}" dt="2024-02-06T17:53:55.661" v="253" actId="47"/>
        <pc:sldMkLst>
          <pc:docMk/>
          <pc:sldMk cId="4120377211" sldId="2147380507"/>
        </pc:sldMkLst>
      </pc:sldChg>
      <pc:sldChg chg="modSp add mod">
        <pc:chgData name="Padhy, Bimal" userId="8b139dcf-f3e6-4d2e-bf13-fa923e73c8bf" providerId="ADAL" clId="{58060369-652C-4F0D-A227-67EE08962D04}" dt="2024-02-06T18:05:13.008" v="329" actId="20577"/>
        <pc:sldMkLst>
          <pc:docMk/>
          <pc:sldMk cId="2572772179" sldId="2147380508"/>
        </pc:sldMkLst>
        <pc:spChg chg="mod">
          <ac:chgData name="Padhy, Bimal" userId="8b139dcf-f3e6-4d2e-bf13-fa923e73c8bf" providerId="ADAL" clId="{58060369-652C-4F0D-A227-67EE08962D04}" dt="2024-02-06T18:05:03.057" v="322" actId="20577"/>
          <ac:spMkLst>
            <pc:docMk/>
            <pc:sldMk cId="2572772179" sldId="2147380508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5:13.008" v="329" actId="20577"/>
          <ac:spMkLst>
            <pc:docMk/>
            <pc:sldMk cId="2572772179" sldId="2147380508"/>
            <ac:spMk id="7" creationId="{411D760B-D9C5-AD6B-A013-DFFB7A55A45D}"/>
          </ac:spMkLst>
        </pc:spChg>
      </pc:sldChg>
      <pc:sldChg chg="modSp add mod">
        <pc:chgData name="Padhy, Bimal" userId="8b139dcf-f3e6-4d2e-bf13-fa923e73c8bf" providerId="ADAL" clId="{58060369-652C-4F0D-A227-67EE08962D04}" dt="2024-02-06T18:04:43.757" v="319" actId="20577"/>
        <pc:sldMkLst>
          <pc:docMk/>
          <pc:sldMk cId="1137314015" sldId="2147380509"/>
        </pc:sldMkLst>
        <pc:spChg chg="mod">
          <ac:chgData name="Padhy, Bimal" userId="8b139dcf-f3e6-4d2e-bf13-fa923e73c8bf" providerId="ADAL" clId="{58060369-652C-4F0D-A227-67EE08962D04}" dt="2024-02-06T18:04:10.770" v="312" actId="20577"/>
          <ac:spMkLst>
            <pc:docMk/>
            <pc:sldMk cId="1137314015" sldId="2147380509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4:43.757" v="319" actId="20577"/>
          <ac:spMkLst>
            <pc:docMk/>
            <pc:sldMk cId="1137314015" sldId="2147380509"/>
            <ac:spMk id="7" creationId="{411D760B-D9C5-AD6B-A013-DFFB7A55A45D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6T18:03:57.052" v="309" actId="478"/>
        <pc:sldMkLst>
          <pc:docMk/>
          <pc:sldMk cId="2978466158" sldId="2147380510"/>
        </pc:sldMkLst>
        <pc:spChg chg="mod">
          <ac:chgData name="Padhy, Bimal" userId="8b139dcf-f3e6-4d2e-bf13-fa923e73c8bf" providerId="ADAL" clId="{58060369-652C-4F0D-A227-67EE08962D04}" dt="2024-02-06T17:56:31.218" v="272"/>
          <ac:spMkLst>
            <pc:docMk/>
            <pc:sldMk cId="2978466158" sldId="2147380510"/>
            <ac:spMk id="5" creationId="{5BDA3DC1-DAE3-3630-A3D9-F545E847C311}"/>
          </ac:spMkLst>
        </pc:spChg>
        <pc:spChg chg="mod">
          <ac:chgData name="Padhy, Bimal" userId="8b139dcf-f3e6-4d2e-bf13-fa923e73c8bf" providerId="ADAL" clId="{58060369-652C-4F0D-A227-67EE08962D04}" dt="2024-02-06T18:03:52.349" v="308" actId="20577"/>
          <ac:spMkLst>
            <pc:docMk/>
            <pc:sldMk cId="2978466158" sldId="2147380510"/>
            <ac:spMk id="6" creationId="{23977658-C41B-081F-392F-088D3863CF94}"/>
          </ac:spMkLst>
        </pc:spChg>
        <pc:spChg chg="del mod">
          <ac:chgData name="Padhy, Bimal" userId="8b139dcf-f3e6-4d2e-bf13-fa923e73c8bf" providerId="ADAL" clId="{58060369-652C-4F0D-A227-67EE08962D04}" dt="2024-02-06T18:03:57.052" v="309" actId="478"/>
          <ac:spMkLst>
            <pc:docMk/>
            <pc:sldMk cId="2978466158" sldId="2147380510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7:56:31.218" v="272"/>
          <ac:grpSpMkLst>
            <pc:docMk/>
            <pc:sldMk cId="2978466158" sldId="2147380510"/>
            <ac:grpSpMk id="3" creationId="{BE56EF50-2DC2-E1D0-67F9-447FDE730839}"/>
          </ac:grpSpMkLst>
        </pc:grpChg>
        <pc:picChg chg="mod">
          <ac:chgData name="Padhy, Bimal" userId="8b139dcf-f3e6-4d2e-bf13-fa923e73c8bf" providerId="ADAL" clId="{58060369-652C-4F0D-A227-67EE08962D04}" dt="2024-02-06T17:56:31.218" v="272"/>
          <ac:picMkLst>
            <pc:docMk/>
            <pc:sldMk cId="2978466158" sldId="2147380510"/>
            <ac:picMk id="4" creationId="{AD7A6A2E-AE1B-ED18-88A3-75DE09E8F9AB}"/>
          </ac:picMkLst>
        </pc:picChg>
      </pc:sldChg>
      <pc:sldChg chg="addSp modSp add mod">
        <pc:chgData name="Padhy, Bimal" userId="8b139dcf-f3e6-4d2e-bf13-fa923e73c8bf" providerId="ADAL" clId="{58060369-652C-4F0D-A227-67EE08962D04}" dt="2024-02-06T18:03:38.724" v="305" actId="1076"/>
        <pc:sldMkLst>
          <pc:docMk/>
          <pc:sldMk cId="2917408666" sldId="2147380511"/>
        </pc:sldMkLst>
        <pc:spChg chg="mod">
          <ac:chgData name="Padhy, Bimal" userId="8b139dcf-f3e6-4d2e-bf13-fa923e73c8bf" providerId="ADAL" clId="{58060369-652C-4F0D-A227-67EE08962D04}" dt="2024-02-06T17:56:58.858" v="279"/>
          <ac:spMkLst>
            <pc:docMk/>
            <pc:sldMk cId="2917408666" sldId="2147380511"/>
            <ac:spMk id="5" creationId="{434C8AC6-2DD2-EAF3-88A8-A6DF3CD54689}"/>
          </ac:spMkLst>
        </pc:spChg>
        <pc:spChg chg="mod">
          <ac:chgData name="Padhy, Bimal" userId="8b139dcf-f3e6-4d2e-bf13-fa923e73c8bf" providerId="ADAL" clId="{58060369-652C-4F0D-A227-67EE08962D04}" dt="2024-02-06T18:03:22.369" v="301" actId="255"/>
          <ac:spMkLst>
            <pc:docMk/>
            <pc:sldMk cId="2917408666" sldId="2147380511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3:33.706" v="304" actId="6549"/>
          <ac:spMkLst>
            <pc:docMk/>
            <pc:sldMk cId="2917408666" sldId="2147380511"/>
            <ac:spMk id="7" creationId="{411D760B-D9C5-AD6B-A013-DFFB7A55A45D}"/>
          </ac:spMkLst>
        </pc:spChg>
        <pc:grpChg chg="add mod">
          <ac:chgData name="Padhy, Bimal" userId="8b139dcf-f3e6-4d2e-bf13-fa923e73c8bf" providerId="ADAL" clId="{58060369-652C-4F0D-A227-67EE08962D04}" dt="2024-02-06T18:03:38.724" v="305" actId="1076"/>
          <ac:grpSpMkLst>
            <pc:docMk/>
            <pc:sldMk cId="2917408666" sldId="2147380511"/>
            <ac:grpSpMk id="3" creationId="{8B904E6C-4AE9-EC3F-7080-FAF2C9EBA51C}"/>
          </ac:grpSpMkLst>
        </pc:grpChg>
        <pc:picChg chg="mod">
          <ac:chgData name="Padhy, Bimal" userId="8b139dcf-f3e6-4d2e-bf13-fa923e73c8bf" providerId="ADAL" clId="{58060369-652C-4F0D-A227-67EE08962D04}" dt="2024-02-06T17:56:58.858" v="279"/>
          <ac:picMkLst>
            <pc:docMk/>
            <pc:sldMk cId="2917408666" sldId="2147380511"/>
            <ac:picMk id="4" creationId="{FFE462DA-20F6-0761-3E80-F19E9B3FE6B8}"/>
          </ac:picMkLst>
        </pc:picChg>
      </pc:sldChg>
      <pc:sldChg chg="delSp modSp add mod">
        <pc:chgData name="Padhy, Bimal" userId="8b139dcf-f3e6-4d2e-bf13-fa923e73c8bf" providerId="ADAL" clId="{58060369-652C-4F0D-A227-67EE08962D04}" dt="2024-02-06T18:03:16.068" v="300" actId="255"/>
        <pc:sldMkLst>
          <pc:docMk/>
          <pc:sldMk cId="1267927124" sldId="2147380512"/>
        </pc:sldMkLst>
        <pc:spChg chg="mod">
          <ac:chgData name="Padhy, Bimal" userId="8b139dcf-f3e6-4d2e-bf13-fa923e73c8bf" providerId="ADAL" clId="{58060369-652C-4F0D-A227-67EE08962D04}" dt="2024-02-06T18:03:11.071" v="299" actId="20577"/>
          <ac:spMkLst>
            <pc:docMk/>
            <pc:sldMk cId="1267927124" sldId="2147380512"/>
            <ac:spMk id="6" creationId="{23977658-C41B-081F-392F-088D3863CF94}"/>
          </ac:spMkLst>
        </pc:spChg>
        <pc:spChg chg="mod">
          <ac:chgData name="Padhy, Bimal" userId="8b139dcf-f3e6-4d2e-bf13-fa923e73c8bf" providerId="ADAL" clId="{58060369-652C-4F0D-A227-67EE08962D04}" dt="2024-02-06T18:03:16.068" v="300" actId="255"/>
          <ac:spMkLst>
            <pc:docMk/>
            <pc:sldMk cId="1267927124" sldId="2147380512"/>
            <ac:spMk id="7" creationId="{411D760B-D9C5-AD6B-A013-DFFB7A55A45D}"/>
          </ac:spMkLst>
        </pc:spChg>
        <pc:grpChg chg="del">
          <ac:chgData name="Padhy, Bimal" userId="8b139dcf-f3e6-4d2e-bf13-fa923e73c8bf" providerId="ADAL" clId="{58060369-652C-4F0D-A227-67EE08962D04}" dt="2024-02-06T17:57:17.830" v="283" actId="478"/>
          <ac:grpSpMkLst>
            <pc:docMk/>
            <pc:sldMk cId="1267927124" sldId="2147380512"/>
            <ac:grpSpMk id="3" creationId="{8B904E6C-4AE9-EC3F-7080-FAF2C9EBA51C}"/>
          </ac:grpSpMkLst>
        </pc:grpChg>
      </pc:sldChg>
      <pc:sldChg chg="modSp add mod">
        <pc:chgData name="Padhy, Bimal" userId="8b139dcf-f3e6-4d2e-bf13-fa923e73c8bf" providerId="ADAL" clId="{58060369-652C-4F0D-A227-67EE08962D04}" dt="2024-02-09T10:01:57.146" v="424" actId="113"/>
        <pc:sldMkLst>
          <pc:docMk/>
          <pc:sldMk cId="2062112374" sldId="2147380513"/>
        </pc:sldMkLst>
        <pc:spChg chg="mod">
          <ac:chgData name="Padhy, Bimal" userId="8b139dcf-f3e6-4d2e-bf13-fa923e73c8bf" providerId="ADAL" clId="{58060369-652C-4F0D-A227-67EE08962D04}" dt="2024-02-09T10:01:57.146" v="424" actId="113"/>
          <ac:spMkLst>
            <pc:docMk/>
            <pc:sldMk cId="2062112374" sldId="2147380513"/>
            <ac:spMk id="12" creationId="{A2ACD7AE-1C0E-8289-36DD-EEDCDC8C9BF1}"/>
          </ac:spMkLst>
        </pc:spChg>
      </pc:sldChg>
      <pc:sldChg chg="modSp add mod">
        <pc:chgData name="Padhy, Bimal" userId="8b139dcf-f3e6-4d2e-bf13-fa923e73c8bf" providerId="ADAL" clId="{58060369-652C-4F0D-A227-67EE08962D04}" dt="2024-02-09T10:02:08.510" v="425"/>
        <pc:sldMkLst>
          <pc:docMk/>
          <pc:sldMk cId="769399630" sldId="2147380514"/>
        </pc:sldMkLst>
        <pc:spChg chg="mod">
          <ac:chgData name="Padhy, Bimal" userId="8b139dcf-f3e6-4d2e-bf13-fa923e73c8bf" providerId="ADAL" clId="{58060369-652C-4F0D-A227-67EE08962D04}" dt="2024-02-09T10:02:08.510" v="425"/>
          <ac:spMkLst>
            <pc:docMk/>
            <pc:sldMk cId="769399630" sldId="2147380514"/>
            <ac:spMk id="7" creationId="{5C8F7C1E-1684-FFD2-D02E-2A1FA867BA18}"/>
          </ac:spMkLst>
        </pc:spChg>
      </pc:sldChg>
      <pc:sldChg chg="modSp add mod">
        <pc:chgData name="Padhy, Bimal" userId="8b139dcf-f3e6-4d2e-bf13-fa923e73c8bf" providerId="ADAL" clId="{58060369-652C-4F0D-A227-67EE08962D04}" dt="2024-02-09T10:02:44.788" v="433"/>
        <pc:sldMkLst>
          <pc:docMk/>
          <pc:sldMk cId="2360685850" sldId="2147380515"/>
        </pc:sldMkLst>
        <pc:spChg chg="mod">
          <ac:chgData name="Padhy, Bimal" userId="8b139dcf-f3e6-4d2e-bf13-fa923e73c8bf" providerId="ADAL" clId="{58060369-652C-4F0D-A227-67EE08962D04}" dt="2024-02-09T10:02:38.007" v="432" actId="20577"/>
          <ac:spMkLst>
            <pc:docMk/>
            <pc:sldMk cId="2360685850" sldId="2147380515"/>
            <ac:spMk id="6" creationId="{799B25F4-DD95-B197-23A3-3A656894AE98}"/>
          </ac:spMkLst>
        </pc:spChg>
        <pc:spChg chg="mod">
          <ac:chgData name="Padhy, Bimal" userId="8b139dcf-f3e6-4d2e-bf13-fa923e73c8bf" providerId="ADAL" clId="{58060369-652C-4F0D-A227-67EE08962D04}" dt="2024-02-09T10:02:44.788" v="433"/>
          <ac:spMkLst>
            <pc:docMk/>
            <pc:sldMk cId="2360685850" sldId="2147380515"/>
            <ac:spMk id="7" creationId="{1C4AC124-0301-4B21-9DC6-B6C5C30A196E}"/>
          </ac:spMkLst>
        </pc:spChg>
      </pc:sldChg>
      <pc:sldChg chg="modSp add mod">
        <pc:chgData name="Padhy, Bimal" userId="8b139dcf-f3e6-4d2e-bf13-fa923e73c8bf" providerId="ADAL" clId="{58060369-652C-4F0D-A227-67EE08962D04}" dt="2024-02-09T10:06:27.942" v="439"/>
        <pc:sldMkLst>
          <pc:docMk/>
          <pc:sldMk cId="2089476395" sldId="2147380516"/>
        </pc:sldMkLst>
        <pc:spChg chg="mod">
          <ac:chgData name="Padhy, Bimal" userId="8b139dcf-f3e6-4d2e-bf13-fa923e73c8bf" providerId="ADAL" clId="{58060369-652C-4F0D-A227-67EE08962D04}" dt="2024-02-09T10:06:27.942" v="439"/>
          <ac:spMkLst>
            <pc:docMk/>
            <pc:sldMk cId="2089476395" sldId="2147380516"/>
            <ac:spMk id="7" creationId="{2D7D290C-71F8-9805-15DE-3FB09EC47F38}"/>
          </ac:spMkLst>
        </pc:spChg>
        <pc:grpChg chg="mod">
          <ac:chgData name="Padhy, Bimal" userId="8b139dcf-f3e6-4d2e-bf13-fa923e73c8bf" providerId="ADAL" clId="{58060369-652C-4F0D-A227-67EE08962D04}" dt="2024-02-09T10:03:40.798" v="436" actId="1076"/>
          <ac:grpSpMkLst>
            <pc:docMk/>
            <pc:sldMk cId="2089476395" sldId="2147380516"/>
            <ac:grpSpMk id="14" creationId="{ED0991FD-32E3-5F34-85DB-67401FA45CA7}"/>
          </ac:grpSpMkLst>
        </pc:grpChg>
      </pc:sldChg>
      <pc:sldChg chg="add del">
        <pc:chgData name="Padhy, Bimal" userId="8b139dcf-f3e6-4d2e-bf13-fa923e73c8bf" providerId="ADAL" clId="{58060369-652C-4F0D-A227-67EE08962D04}" dt="2024-02-09T10:02:27.347" v="429" actId="47"/>
        <pc:sldMkLst>
          <pc:docMk/>
          <pc:sldMk cId="4143041670" sldId="2147380516"/>
        </pc:sldMkLst>
      </pc:sldChg>
      <pc:sldChg chg="modSp add mod">
        <pc:chgData name="Padhy, Bimal" userId="8b139dcf-f3e6-4d2e-bf13-fa923e73c8bf" providerId="ADAL" clId="{58060369-652C-4F0D-A227-67EE08962D04}" dt="2024-02-09T10:07:09.988" v="449"/>
        <pc:sldMkLst>
          <pc:docMk/>
          <pc:sldMk cId="1218108183" sldId="2147380517"/>
        </pc:sldMkLst>
        <pc:spChg chg="mod">
          <ac:chgData name="Padhy, Bimal" userId="8b139dcf-f3e6-4d2e-bf13-fa923e73c8bf" providerId="ADAL" clId="{58060369-652C-4F0D-A227-67EE08962D04}" dt="2024-02-09T10:07:04.969" v="448" actId="20577"/>
          <ac:spMkLst>
            <pc:docMk/>
            <pc:sldMk cId="1218108183" sldId="2147380517"/>
            <ac:spMk id="6" creationId="{CAF2DF0B-18F3-5263-3F34-5E50D68FEE0F}"/>
          </ac:spMkLst>
        </pc:spChg>
        <pc:spChg chg="mod">
          <ac:chgData name="Padhy, Bimal" userId="8b139dcf-f3e6-4d2e-bf13-fa923e73c8bf" providerId="ADAL" clId="{58060369-652C-4F0D-A227-67EE08962D04}" dt="2024-02-09T10:07:09.988" v="449"/>
          <ac:spMkLst>
            <pc:docMk/>
            <pc:sldMk cId="1218108183" sldId="2147380517"/>
            <ac:spMk id="7" creationId="{DCAEE33A-B674-3409-3880-F3D3EFEE2A27}"/>
          </ac:spMkLst>
        </pc:spChg>
      </pc:sldChg>
      <pc:sldChg chg="add del">
        <pc:chgData name="Padhy, Bimal" userId="8b139dcf-f3e6-4d2e-bf13-fa923e73c8bf" providerId="ADAL" clId="{58060369-652C-4F0D-A227-67EE08962D04}" dt="2024-02-09T10:02:27.347" v="429" actId="47"/>
        <pc:sldMkLst>
          <pc:docMk/>
          <pc:sldMk cId="1561754268" sldId="2147380517"/>
        </pc:sldMkLst>
      </pc:sldChg>
      <pc:sldChg chg="addSp modSp add mod">
        <pc:chgData name="Padhy, Bimal" userId="8b139dcf-f3e6-4d2e-bf13-fa923e73c8bf" providerId="ADAL" clId="{58060369-652C-4F0D-A227-67EE08962D04}" dt="2024-02-09T10:07:56.469" v="460" actId="14100"/>
        <pc:sldMkLst>
          <pc:docMk/>
          <pc:sldMk cId="4090034266" sldId="2147380518"/>
        </pc:sldMkLst>
        <pc:spChg chg="mod">
          <ac:chgData name="Padhy, Bimal" userId="8b139dcf-f3e6-4d2e-bf13-fa923e73c8bf" providerId="ADAL" clId="{58060369-652C-4F0D-A227-67EE08962D04}" dt="2024-02-09T10:07:37.628" v="455"/>
          <ac:spMkLst>
            <pc:docMk/>
            <pc:sldMk cId="4090034266" sldId="2147380518"/>
            <ac:spMk id="5" creationId="{5746876B-122E-E13F-F550-6789D1695BD4}"/>
          </ac:spMkLst>
        </pc:spChg>
        <pc:spChg chg="mod">
          <ac:chgData name="Padhy, Bimal" userId="8b139dcf-f3e6-4d2e-bf13-fa923e73c8bf" providerId="ADAL" clId="{58060369-652C-4F0D-A227-67EE08962D04}" dt="2024-02-09T10:07:26.701" v="453" actId="20577"/>
          <ac:spMkLst>
            <pc:docMk/>
            <pc:sldMk cId="4090034266" sldId="2147380518"/>
            <ac:spMk id="6" creationId="{C6094EF7-1F55-F134-913F-B2DB0A4D1064}"/>
          </ac:spMkLst>
        </pc:spChg>
        <pc:spChg chg="mod">
          <ac:chgData name="Padhy, Bimal" userId="8b139dcf-f3e6-4d2e-bf13-fa923e73c8bf" providerId="ADAL" clId="{58060369-652C-4F0D-A227-67EE08962D04}" dt="2024-02-09T10:07:31.480" v="454"/>
          <ac:spMkLst>
            <pc:docMk/>
            <pc:sldMk cId="4090034266" sldId="2147380518"/>
            <ac:spMk id="7" creationId="{94527B4A-4D91-8C0D-57E1-1510D39D8ECB}"/>
          </ac:spMkLst>
        </pc:spChg>
        <pc:grpChg chg="add mod">
          <ac:chgData name="Padhy, Bimal" userId="8b139dcf-f3e6-4d2e-bf13-fa923e73c8bf" providerId="ADAL" clId="{58060369-652C-4F0D-A227-67EE08962D04}" dt="2024-02-09T10:07:56.469" v="460" actId="14100"/>
          <ac:grpSpMkLst>
            <pc:docMk/>
            <pc:sldMk cId="4090034266" sldId="2147380518"/>
            <ac:grpSpMk id="3" creationId="{2C90AEB1-04CB-A2B3-93A6-94EF99C442CF}"/>
          </ac:grpSpMkLst>
        </pc:grpChg>
        <pc:picChg chg="mod">
          <ac:chgData name="Padhy, Bimal" userId="8b139dcf-f3e6-4d2e-bf13-fa923e73c8bf" providerId="ADAL" clId="{58060369-652C-4F0D-A227-67EE08962D04}" dt="2024-02-09T10:07:37.628" v="455"/>
          <ac:picMkLst>
            <pc:docMk/>
            <pc:sldMk cId="4090034266" sldId="2147380518"/>
            <ac:picMk id="4" creationId="{B880FCCE-77C4-2E8E-F346-4170EED120F9}"/>
          </ac:picMkLst>
        </pc:picChg>
      </pc:sldChg>
      <pc:sldChg chg="modSp add mod">
        <pc:chgData name="Padhy, Bimal" userId="8b139dcf-f3e6-4d2e-bf13-fa923e73c8bf" providerId="ADAL" clId="{58060369-652C-4F0D-A227-67EE08962D04}" dt="2024-02-09T10:08:34.884" v="465"/>
        <pc:sldMkLst>
          <pc:docMk/>
          <pc:sldMk cId="3120293604" sldId="2147380519"/>
        </pc:sldMkLst>
        <pc:spChg chg="mod">
          <ac:chgData name="Padhy, Bimal" userId="8b139dcf-f3e6-4d2e-bf13-fa923e73c8bf" providerId="ADAL" clId="{58060369-652C-4F0D-A227-67EE08962D04}" dt="2024-02-09T10:08:29.909" v="464" actId="20577"/>
          <ac:spMkLst>
            <pc:docMk/>
            <pc:sldMk cId="3120293604" sldId="2147380519"/>
            <ac:spMk id="6" creationId="{A9377BB4-4C9A-04FA-2FC5-ECC858E08385}"/>
          </ac:spMkLst>
        </pc:spChg>
        <pc:spChg chg="mod">
          <ac:chgData name="Padhy, Bimal" userId="8b139dcf-f3e6-4d2e-bf13-fa923e73c8bf" providerId="ADAL" clId="{58060369-652C-4F0D-A227-67EE08962D04}" dt="2024-02-09T10:08:34.884" v="465"/>
          <ac:spMkLst>
            <pc:docMk/>
            <pc:sldMk cId="3120293604" sldId="2147380519"/>
            <ac:spMk id="7" creationId="{AFCD52A2-A994-EBE9-02AB-CFFE724C750A}"/>
          </ac:spMkLst>
        </pc:spChg>
      </pc:sldChg>
      <pc:sldChg chg="modSp add mod">
        <pc:chgData name="Padhy, Bimal" userId="8b139dcf-f3e6-4d2e-bf13-fa923e73c8bf" providerId="ADAL" clId="{58060369-652C-4F0D-A227-67EE08962D04}" dt="2024-02-09T10:08:56.144" v="470"/>
        <pc:sldMkLst>
          <pc:docMk/>
          <pc:sldMk cId="3113676359" sldId="2147380520"/>
        </pc:sldMkLst>
        <pc:spChg chg="mod">
          <ac:chgData name="Padhy, Bimal" userId="8b139dcf-f3e6-4d2e-bf13-fa923e73c8bf" providerId="ADAL" clId="{58060369-652C-4F0D-A227-67EE08962D04}" dt="2024-02-09T10:08:49.764" v="469" actId="20577"/>
          <ac:spMkLst>
            <pc:docMk/>
            <pc:sldMk cId="3113676359" sldId="2147380520"/>
            <ac:spMk id="6" creationId="{A0088DCC-2F1C-33AF-3664-19A65BE137F5}"/>
          </ac:spMkLst>
        </pc:spChg>
        <pc:spChg chg="mod">
          <ac:chgData name="Padhy, Bimal" userId="8b139dcf-f3e6-4d2e-bf13-fa923e73c8bf" providerId="ADAL" clId="{58060369-652C-4F0D-A227-67EE08962D04}" dt="2024-02-09T10:08:56.144" v="470"/>
          <ac:spMkLst>
            <pc:docMk/>
            <pc:sldMk cId="3113676359" sldId="2147380520"/>
            <ac:spMk id="7" creationId="{A497F54F-B6CB-27BD-ED32-712E6088EEE6}"/>
          </ac:spMkLst>
        </pc:spChg>
      </pc:sldChg>
      <pc:sldChg chg="addSp delSp modSp add mod">
        <pc:chgData name="Padhy, Bimal" userId="8b139dcf-f3e6-4d2e-bf13-fa923e73c8bf" providerId="ADAL" clId="{58060369-652C-4F0D-A227-67EE08962D04}" dt="2024-02-09T10:09:27.676" v="475" actId="1076"/>
        <pc:sldMkLst>
          <pc:docMk/>
          <pc:sldMk cId="130936997" sldId="2147380521"/>
        </pc:sldMkLst>
        <pc:spChg chg="mod">
          <ac:chgData name="Padhy, Bimal" userId="8b139dcf-f3e6-4d2e-bf13-fa923e73c8bf" providerId="ADAL" clId="{58060369-652C-4F0D-A227-67EE08962D04}" dt="2024-02-09T10:09:16.399" v="472"/>
          <ac:spMkLst>
            <pc:docMk/>
            <pc:sldMk cId="130936997" sldId="2147380521"/>
            <ac:spMk id="5" creationId="{0C422C45-BA01-0EB8-CEF8-259ECFDA74D4}"/>
          </ac:spMkLst>
        </pc:spChg>
        <pc:spChg chg="mod">
          <ac:chgData name="Padhy, Bimal" userId="8b139dcf-f3e6-4d2e-bf13-fa923e73c8bf" providerId="ADAL" clId="{58060369-652C-4F0D-A227-67EE08962D04}" dt="2024-02-09T10:09:12.120" v="471"/>
          <ac:spMkLst>
            <pc:docMk/>
            <pc:sldMk cId="130936997" sldId="2147380521"/>
            <ac:spMk id="6" creationId="{B285E021-73FC-0304-B004-8DDC3FB2D0AB}"/>
          </ac:spMkLst>
        </pc:spChg>
        <pc:spChg chg="del">
          <ac:chgData name="Padhy, Bimal" userId="8b139dcf-f3e6-4d2e-bf13-fa923e73c8bf" providerId="ADAL" clId="{58060369-652C-4F0D-A227-67EE08962D04}" dt="2024-02-09T10:09:21.962" v="473" actId="478"/>
          <ac:spMkLst>
            <pc:docMk/>
            <pc:sldMk cId="130936997" sldId="2147380521"/>
            <ac:spMk id="7" creationId="{EF6D986C-9DF5-9E24-ED6C-84E6A0EE8841}"/>
          </ac:spMkLst>
        </pc:spChg>
        <pc:grpChg chg="add mod">
          <ac:chgData name="Padhy, Bimal" userId="8b139dcf-f3e6-4d2e-bf13-fa923e73c8bf" providerId="ADAL" clId="{58060369-652C-4F0D-A227-67EE08962D04}" dt="2024-02-09T10:09:27.676" v="475" actId="1076"/>
          <ac:grpSpMkLst>
            <pc:docMk/>
            <pc:sldMk cId="130936997" sldId="2147380521"/>
            <ac:grpSpMk id="3" creationId="{F3FF403D-F37A-E669-2378-5DD751DC6916}"/>
          </ac:grpSpMkLst>
        </pc:grpChg>
        <pc:picChg chg="mod">
          <ac:chgData name="Padhy, Bimal" userId="8b139dcf-f3e6-4d2e-bf13-fa923e73c8bf" providerId="ADAL" clId="{58060369-652C-4F0D-A227-67EE08962D04}" dt="2024-02-09T10:09:16.399" v="472"/>
          <ac:picMkLst>
            <pc:docMk/>
            <pc:sldMk cId="130936997" sldId="2147380521"/>
            <ac:picMk id="4" creationId="{D591636E-145B-66D9-D587-317225F1BB0A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9T10:10:03.100" v="483"/>
        <pc:sldMkLst>
          <pc:docMk/>
          <pc:sldMk cId="4142900996" sldId="2147380522"/>
        </pc:sldMkLst>
        <pc:spChg chg="mod">
          <ac:chgData name="Padhy, Bimal" userId="8b139dcf-f3e6-4d2e-bf13-fa923e73c8bf" providerId="ADAL" clId="{58060369-652C-4F0D-A227-67EE08962D04}" dt="2024-02-09T10:09:48.678" v="481"/>
          <ac:spMkLst>
            <pc:docMk/>
            <pc:sldMk cId="4142900996" sldId="2147380522"/>
            <ac:spMk id="6" creationId="{2A99CEB3-6F5B-6790-7E4F-EE421492E294}"/>
          </ac:spMkLst>
        </pc:spChg>
        <pc:spChg chg="mod">
          <ac:chgData name="Padhy, Bimal" userId="8b139dcf-f3e6-4d2e-bf13-fa923e73c8bf" providerId="ADAL" clId="{58060369-652C-4F0D-A227-67EE08962D04}" dt="2024-02-09T10:09:52.403" v="482"/>
          <ac:spMkLst>
            <pc:docMk/>
            <pc:sldMk cId="4142900996" sldId="2147380522"/>
            <ac:spMk id="10" creationId="{FFF49F2A-790C-4478-7B4D-CCC5BF21C6CF}"/>
          </ac:spMkLst>
        </pc:spChg>
        <pc:spChg chg="mod">
          <ac:chgData name="Padhy, Bimal" userId="8b139dcf-f3e6-4d2e-bf13-fa923e73c8bf" providerId="ADAL" clId="{58060369-652C-4F0D-A227-67EE08962D04}" dt="2024-02-09T10:09:52.403" v="482"/>
          <ac:spMkLst>
            <pc:docMk/>
            <pc:sldMk cId="4142900996" sldId="2147380522"/>
            <ac:spMk id="12" creationId="{791821B7-E477-9E60-A9C8-863F768B5A29}"/>
          </ac:spMkLst>
        </pc:spChg>
        <pc:spChg chg="add mod">
          <ac:chgData name="Padhy, Bimal" userId="8b139dcf-f3e6-4d2e-bf13-fa923e73c8bf" providerId="ADAL" clId="{58060369-652C-4F0D-A227-67EE08962D04}" dt="2024-02-09T10:10:03.100" v="483"/>
          <ac:spMkLst>
            <pc:docMk/>
            <pc:sldMk cId="4142900996" sldId="2147380522"/>
            <ac:spMk id="13" creationId="{17128B9D-B9BE-01E3-BEC1-43828736BCD1}"/>
          </ac:spMkLst>
        </pc:spChg>
        <pc:grpChg chg="del">
          <ac:chgData name="Padhy, Bimal" userId="8b139dcf-f3e6-4d2e-bf13-fa923e73c8bf" providerId="ADAL" clId="{58060369-652C-4F0D-A227-67EE08962D04}" dt="2024-02-09T10:09:46.043" v="480" actId="478"/>
          <ac:grpSpMkLst>
            <pc:docMk/>
            <pc:sldMk cId="4142900996" sldId="2147380522"/>
            <ac:grpSpMk id="3" creationId="{BC101A23-211F-B31D-4E8C-337DED7BB0DD}"/>
          </ac:grpSpMkLst>
        </pc:grpChg>
        <pc:grpChg chg="add mod">
          <ac:chgData name="Padhy, Bimal" userId="8b139dcf-f3e6-4d2e-bf13-fa923e73c8bf" providerId="ADAL" clId="{58060369-652C-4F0D-A227-67EE08962D04}" dt="2024-02-09T10:09:52.403" v="482"/>
          <ac:grpSpMkLst>
            <pc:docMk/>
            <pc:sldMk cId="4142900996" sldId="2147380522"/>
            <ac:grpSpMk id="7" creationId="{E9B7E84C-174B-B572-E650-F8C2E4BCB502}"/>
          </ac:grpSpMkLst>
        </pc:grpChg>
        <pc:picChg chg="mod">
          <ac:chgData name="Padhy, Bimal" userId="8b139dcf-f3e6-4d2e-bf13-fa923e73c8bf" providerId="ADAL" clId="{58060369-652C-4F0D-A227-67EE08962D04}" dt="2024-02-09T10:09:52.403" v="482"/>
          <ac:picMkLst>
            <pc:docMk/>
            <pc:sldMk cId="4142900996" sldId="2147380522"/>
            <ac:picMk id="8" creationId="{CC1B5DBC-594C-B92E-F49E-7008D45372A9}"/>
          </ac:picMkLst>
        </pc:picChg>
        <pc:picChg chg="mod">
          <ac:chgData name="Padhy, Bimal" userId="8b139dcf-f3e6-4d2e-bf13-fa923e73c8bf" providerId="ADAL" clId="{58060369-652C-4F0D-A227-67EE08962D04}" dt="2024-02-09T10:09:52.403" v="482"/>
          <ac:picMkLst>
            <pc:docMk/>
            <pc:sldMk cId="4142900996" sldId="2147380522"/>
            <ac:picMk id="11" creationId="{5693D724-AC68-6B12-99D2-1CAAA3AFCDDE}"/>
          </ac:picMkLst>
        </pc:picChg>
      </pc:sldChg>
      <pc:sldChg chg="add del">
        <pc:chgData name="Padhy, Bimal" userId="8b139dcf-f3e6-4d2e-bf13-fa923e73c8bf" providerId="ADAL" clId="{58060369-652C-4F0D-A227-67EE08962D04}" dt="2024-02-09T10:14:45.398" v="495"/>
        <pc:sldMkLst>
          <pc:docMk/>
          <pc:sldMk cId="1383334304" sldId="2147380523"/>
        </pc:sldMkLst>
      </pc:sldChg>
      <pc:sldChg chg="modSp add mod">
        <pc:chgData name="Padhy, Bimal" userId="8b139dcf-f3e6-4d2e-bf13-fa923e73c8bf" providerId="ADAL" clId="{58060369-652C-4F0D-A227-67EE08962D04}" dt="2024-02-09T10:15:18.203" v="506" actId="20577"/>
        <pc:sldMkLst>
          <pc:docMk/>
          <pc:sldMk cId="3491886041" sldId="2147380523"/>
        </pc:sldMkLst>
        <pc:spChg chg="mod">
          <ac:chgData name="Padhy, Bimal" userId="8b139dcf-f3e6-4d2e-bf13-fa923e73c8bf" providerId="ADAL" clId="{58060369-652C-4F0D-A227-67EE08962D04}" dt="2024-02-09T10:15:07.840" v="501"/>
          <ac:spMkLst>
            <pc:docMk/>
            <pc:sldMk cId="3491886041" sldId="2147380523"/>
            <ac:spMk id="6" creationId="{A13F5C64-34E3-260F-690C-02BA9FFA55BC}"/>
          </ac:spMkLst>
        </pc:spChg>
        <pc:spChg chg="mod">
          <ac:chgData name="Padhy, Bimal" userId="8b139dcf-f3e6-4d2e-bf13-fa923e73c8bf" providerId="ADAL" clId="{58060369-652C-4F0D-A227-67EE08962D04}" dt="2024-02-09T10:15:18.203" v="506" actId="20577"/>
          <ac:spMkLst>
            <pc:docMk/>
            <pc:sldMk cId="3491886041" sldId="2147380523"/>
            <ac:spMk id="7" creationId="{5BEE538C-6694-1E9B-FD38-DF61E134805A}"/>
          </ac:spMkLst>
        </pc:spChg>
      </pc:sldChg>
      <pc:sldChg chg="addSp delSp modSp add del mod">
        <pc:chgData name="Padhy, Bimal" userId="8b139dcf-f3e6-4d2e-bf13-fa923e73c8bf" providerId="ADAL" clId="{58060369-652C-4F0D-A227-67EE08962D04}" dt="2024-02-09T10:10:42.371" v="488" actId="47"/>
        <pc:sldMkLst>
          <pc:docMk/>
          <pc:sldMk cId="4205256921" sldId="2147380523"/>
        </pc:sldMkLst>
        <pc:spChg chg="mod">
          <ac:chgData name="Padhy, Bimal" userId="8b139dcf-f3e6-4d2e-bf13-fa923e73c8bf" providerId="ADAL" clId="{58060369-652C-4F0D-A227-67EE08962D04}" dt="2024-02-09T10:10:29.826" v="485"/>
          <ac:spMkLst>
            <pc:docMk/>
            <pc:sldMk cId="4205256921" sldId="2147380523"/>
            <ac:spMk id="6" creationId="{63716E75-57E7-16ED-E45B-AE2306EC95C5}"/>
          </ac:spMkLst>
        </pc:spChg>
        <pc:spChg chg="add del">
          <ac:chgData name="Padhy, Bimal" userId="8b139dcf-f3e6-4d2e-bf13-fa923e73c8bf" providerId="ADAL" clId="{58060369-652C-4F0D-A227-67EE08962D04}" dt="2024-02-09T10:10:37.797" v="487" actId="22"/>
          <ac:spMkLst>
            <pc:docMk/>
            <pc:sldMk cId="4205256921" sldId="2147380523"/>
            <ac:spMk id="8" creationId="{D16F2EE2-FB13-19B0-8507-F8975E0B8CD8}"/>
          </ac:spMkLst>
        </pc:spChg>
        <pc:grpChg chg="del">
          <ac:chgData name="Padhy, Bimal" userId="8b139dcf-f3e6-4d2e-bf13-fa923e73c8bf" providerId="ADAL" clId="{58060369-652C-4F0D-A227-67EE08962D04}" dt="2024-02-09T10:10:27.247" v="484" actId="478"/>
          <ac:grpSpMkLst>
            <pc:docMk/>
            <pc:sldMk cId="4205256921" sldId="2147380523"/>
            <ac:grpSpMk id="3" creationId="{99B4DED7-56CB-F17C-7B83-C928854A59EF}"/>
          </ac:grpSpMkLst>
        </pc:grpChg>
      </pc:sldChg>
      <pc:sldChg chg="addSp modSp add mod">
        <pc:chgData name="Padhy, Bimal" userId="8b139dcf-f3e6-4d2e-bf13-fa923e73c8bf" providerId="ADAL" clId="{58060369-652C-4F0D-A227-67EE08962D04}" dt="2024-02-09T10:17:21.816" v="547" actId="1076"/>
        <pc:sldMkLst>
          <pc:docMk/>
          <pc:sldMk cId="2190043391" sldId="2147380524"/>
        </pc:sldMkLst>
        <pc:spChg chg="mod">
          <ac:chgData name="Padhy, Bimal" userId="8b139dcf-f3e6-4d2e-bf13-fa923e73c8bf" providerId="ADAL" clId="{58060369-652C-4F0D-A227-67EE08962D04}" dt="2024-02-09T10:15:38.111" v="507"/>
          <ac:spMkLst>
            <pc:docMk/>
            <pc:sldMk cId="2190043391" sldId="2147380524"/>
            <ac:spMk id="6" creationId="{77A8747A-FD59-E914-4914-3EEEC0F34038}"/>
          </ac:spMkLst>
        </pc:spChg>
        <pc:spChg chg="mod">
          <ac:chgData name="Padhy, Bimal" userId="8b139dcf-f3e6-4d2e-bf13-fa923e73c8bf" providerId="ADAL" clId="{58060369-652C-4F0D-A227-67EE08962D04}" dt="2024-02-09T10:17:08.874" v="545"/>
          <ac:spMkLst>
            <pc:docMk/>
            <pc:sldMk cId="2190043391" sldId="2147380524"/>
            <ac:spMk id="7" creationId="{948465EB-464E-6F26-0C53-DEAC46314AE6}"/>
          </ac:spMkLst>
        </pc:spChg>
        <pc:graphicFrameChg chg="add mod">
          <ac:chgData name="Padhy, Bimal" userId="8b139dcf-f3e6-4d2e-bf13-fa923e73c8bf" providerId="ADAL" clId="{58060369-652C-4F0D-A227-67EE08962D04}" dt="2024-02-09T10:17:21.816" v="547" actId="1076"/>
          <ac:graphicFrameMkLst>
            <pc:docMk/>
            <pc:sldMk cId="2190043391" sldId="2147380524"/>
            <ac:graphicFrameMk id="3" creationId="{AEC4FFDF-F1AB-1BB4-89FC-4C7232F47F4E}"/>
          </ac:graphicFrameMkLst>
        </pc:graphicFrameChg>
      </pc:sldChg>
      <pc:sldChg chg="add del">
        <pc:chgData name="Padhy, Bimal" userId="8b139dcf-f3e6-4d2e-bf13-fa923e73c8bf" providerId="ADAL" clId="{58060369-652C-4F0D-A227-67EE08962D04}" dt="2024-02-09T10:14:37.084" v="493" actId="47"/>
        <pc:sldMkLst>
          <pc:docMk/>
          <pc:sldMk cId="3524030863" sldId="2147380524"/>
        </pc:sldMkLst>
      </pc:sldChg>
      <pc:sldChg chg="modSp add mod">
        <pc:chgData name="Padhy, Bimal" userId="8b139dcf-f3e6-4d2e-bf13-fa923e73c8bf" providerId="ADAL" clId="{58060369-652C-4F0D-A227-67EE08962D04}" dt="2024-02-09T10:17:38.251" v="549"/>
        <pc:sldMkLst>
          <pc:docMk/>
          <pc:sldMk cId="1148976463" sldId="2147380525"/>
        </pc:sldMkLst>
        <pc:spChg chg="mod">
          <ac:chgData name="Padhy, Bimal" userId="8b139dcf-f3e6-4d2e-bf13-fa923e73c8bf" providerId="ADAL" clId="{58060369-652C-4F0D-A227-67EE08962D04}" dt="2024-02-09T10:17:33.628" v="548"/>
          <ac:spMkLst>
            <pc:docMk/>
            <pc:sldMk cId="1148976463" sldId="2147380525"/>
            <ac:spMk id="6" creationId="{31214AE9-7A6E-08B1-C8A6-2DD9FC4C5A1F}"/>
          </ac:spMkLst>
        </pc:spChg>
        <pc:spChg chg="mod">
          <ac:chgData name="Padhy, Bimal" userId="8b139dcf-f3e6-4d2e-bf13-fa923e73c8bf" providerId="ADAL" clId="{58060369-652C-4F0D-A227-67EE08962D04}" dt="2024-02-09T10:17:38.251" v="549"/>
          <ac:spMkLst>
            <pc:docMk/>
            <pc:sldMk cId="1148976463" sldId="2147380525"/>
            <ac:spMk id="7" creationId="{49A6CA08-49E5-94A1-BAC8-726CDBBB201E}"/>
          </ac:spMkLst>
        </pc:spChg>
      </pc:sldChg>
      <pc:sldChg chg="addSp delSp add del mod">
        <pc:chgData name="Padhy, Bimal" userId="8b139dcf-f3e6-4d2e-bf13-fa923e73c8bf" providerId="ADAL" clId="{58060369-652C-4F0D-A227-67EE08962D04}" dt="2024-02-09T10:14:37.084" v="493" actId="47"/>
        <pc:sldMkLst>
          <pc:docMk/>
          <pc:sldMk cId="4160847522" sldId="2147380525"/>
        </pc:sldMkLst>
        <pc:spChg chg="add del">
          <ac:chgData name="Padhy, Bimal" userId="8b139dcf-f3e6-4d2e-bf13-fa923e73c8bf" providerId="ADAL" clId="{58060369-652C-4F0D-A227-67EE08962D04}" dt="2024-02-09T10:13:13.244" v="492" actId="21"/>
          <ac:spMkLst>
            <pc:docMk/>
            <pc:sldMk cId="4160847522" sldId="2147380525"/>
            <ac:spMk id="8" creationId="{D18AD4E5-B050-2796-22CF-9F9D854AB98E}"/>
          </ac:spMkLst>
        </pc:spChg>
      </pc:sldChg>
      <pc:sldChg chg="modSp add mod">
        <pc:chgData name="Padhy, Bimal" userId="8b139dcf-f3e6-4d2e-bf13-fa923e73c8bf" providerId="ADAL" clId="{58060369-652C-4F0D-A227-67EE08962D04}" dt="2024-02-09T10:18:08.971" v="555"/>
        <pc:sldMkLst>
          <pc:docMk/>
          <pc:sldMk cId="2513683651" sldId="2147380526"/>
        </pc:sldMkLst>
        <pc:spChg chg="mod">
          <ac:chgData name="Padhy, Bimal" userId="8b139dcf-f3e6-4d2e-bf13-fa923e73c8bf" providerId="ADAL" clId="{58060369-652C-4F0D-A227-67EE08962D04}" dt="2024-02-09T10:18:02.906" v="554"/>
          <ac:spMkLst>
            <pc:docMk/>
            <pc:sldMk cId="2513683651" sldId="2147380526"/>
            <ac:spMk id="6" creationId="{046B4833-CACA-AD1D-A0BE-0961B7322AC4}"/>
          </ac:spMkLst>
        </pc:spChg>
        <pc:spChg chg="mod">
          <ac:chgData name="Padhy, Bimal" userId="8b139dcf-f3e6-4d2e-bf13-fa923e73c8bf" providerId="ADAL" clId="{58060369-652C-4F0D-A227-67EE08962D04}" dt="2024-02-09T10:18:08.971" v="555"/>
          <ac:spMkLst>
            <pc:docMk/>
            <pc:sldMk cId="2513683651" sldId="2147380526"/>
            <ac:spMk id="7" creationId="{6707D981-29B4-AB77-AF15-426F545203AB}"/>
          </ac:spMkLst>
        </pc:spChg>
      </pc:sldChg>
      <pc:sldChg chg="add del">
        <pc:chgData name="Padhy, Bimal" userId="8b139dcf-f3e6-4d2e-bf13-fa923e73c8bf" providerId="ADAL" clId="{58060369-652C-4F0D-A227-67EE08962D04}" dt="2024-02-09T10:11:07.284" v="490"/>
        <pc:sldMkLst>
          <pc:docMk/>
          <pc:sldMk cId="2775299090" sldId="2147380526"/>
        </pc:sldMkLst>
      </pc:sldChg>
      <pc:sldChg chg="addSp modSp add mod">
        <pc:chgData name="Padhy, Bimal" userId="8b139dcf-f3e6-4d2e-bf13-fa923e73c8bf" providerId="ADAL" clId="{58060369-652C-4F0D-A227-67EE08962D04}" dt="2024-02-09T10:18:46.312" v="560" actId="1076"/>
        <pc:sldMkLst>
          <pc:docMk/>
          <pc:sldMk cId="1885324278" sldId="2147380527"/>
        </pc:sldMkLst>
        <pc:spChg chg="mod">
          <ac:chgData name="Padhy, Bimal" userId="8b139dcf-f3e6-4d2e-bf13-fa923e73c8bf" providerId="ADAL" clId="{58060369-652C-4F0D-A227-67EE08962D04}" dt="2024-02-09T10:18:42.113" v="559"/>
          <ac:spMkLst>
            <pc:docMk/>
            <pc:sldMk cId="1885324278" sldId="2147380527"/>
            <ac:spMk id="5" creationId="{977B0CC4-7F31-30CB-58EE-90D710EA3566}"/>
          </ac:spMkLst>
        </pc:spChg>
        <pc:spChg chg="mod">
          <ac:chgData name="Padhy, Bimal" userId="8b139dcf-f3e6-4d2e-bf13-fa923e73c8bf" providerId="ADAL" clId="{58060369-652C-4F0D-A227-67EE08962D04}" dt="2024-02-09T10:18:33.330" v="556"/>
          <ac:spMkLst>
            <pc:docMk/>
            <pc:sldMk cId="1885324278" sldId="2147380527"/>
            <ac:spMk id="6" creationId="{838DE744-4D43-2399-1B0C-FB608FC51A62}"/>
          </ac:spMkLst>
        </pc:spChg>
        <pc:spChg chg="mod">
          <ac:chgData name="Padhy, Bimal" userId="8b139dcf-f3e6-4d2e-bf13-fa923e73c8bf" providerId="ADAL" clId="{58060369-652C-4F0D-A227-67EE08962D04}" dt="2024-02-09T10:18:41.752" v="558" actId="20577"/>
          <ac:spMkLst>
            <pc:docMk/>
            <pc:sldMk cId="1885324278" sldId="2147380527"/>
            <ac:spMk id="7" creationId="{DFF39BC3-08E2-0C1E-68C0-0998EE10A4D2}"/>
          </ac:spMkLst>
        </pc:spChg>
        <pc:grpChg chg="add mod">
          <ac:chgData name="Padhy, Bimal" userId="8b139dcf-f3e6-4d2e-bf13-fa923e73c8bf" providerId="ADAL" clId="{58060369-652C-4F0D-A227-67EE08962D04}" dt="2024-02-09T10:18:46.312" v="560" actId="1076"/>
          <ac:grpSpMkLst>
            <pc:docMk/>
            <pc:sldMk cId="1885324278" sldId="2147380527"/>
            <ac:grpSpMk id="3" creationId="{A37ECA26-2AA2-1CE4-70C3-2125BA44B19B}"/>
          </ac:grpSpMkLst>
        </pc:grpChg>
        <pc:picChg chg="mod">
          <ac:chgData name="Padhy, Bimal" userId="8b139dcf-f3e6-4d2e-bf13-fa923e73c8bf" providerId="ADAL" clId="{58060369-652C-4F0D-A227-67EE08962D04}" dt="2024-02-09T10:18:42.113" v="559"/>
          <ac:picMkLst>
            <pc:docMk/>
            <pc:sldMk cId="1885324278" sldId="2147380527"/>
            <ac:picMk id="4" creationId="{177A8F21-4063-8B7B-B578-AC1FFA084A14}"/>
          </ac:picMkLst>
        </pc:picChg>
      </pc:sldChg>
      <pc:sldChg chg="addSp modSp add mod">
        <pc:chgData name="Padhy, Bimal" userId="8b139dcf-f3e6-4d2e-bf13-fa923e73c8bf" providerId="ADAL" clId="{58060369-652C-4F0D-A227-67EE08962D04}" dt="2024-02-09T10:19:09.280" v="564" actId="1076"/>
        <pc:sldMkLst>
          <pc:docMk/>
          <pc:sldMk cId="2837696084" sldId="2147380528"/>
        </pc:sldMkLst>
        <pc:spChg chg="mod">
          <ac:chgData name="Padhy, Bimal" userId="8b139dcf-f3e6-4d2e-bf13-fa923e73c8bf" providerId="ADAL" clId="{58060369-652C-4F0D-A227-67EE08962D04}" dt="2024-02-09T10:19:05.040" v="563"/>
          <ac:spMkLst>
            <pc:docMk/>
            <pc:sldMk cId="2837696084" sldId="2147380528"/>
            <ac:spMk id="5" creationId="{F522CA52-F913-D065-2585-57761E60D798}"/>
          </ac:spMkLst>
        </pc:spChg>
        <pc:spChg chg="mod">
          <ac:chgData name="Padhy, Bimal" userId="8b139dcf-f3e6-4d2e-bf13-fa923e73c8bf" providerId="ADAL" clId="{58060369-652C-4F0D-A227-67EE08962D04}" dt="2024-02-09T10:18:55.902" v="561"/>
          <ac:spMkLst>
            <pc:docMk/>
            <pc:sldMk cId="2837696084" sldId="2147380528"/>
            <ac:spMk id="6" creationId="{10CBF556-C6EC-318C-1568-E8D49DD26423}"/>
          </ac:spMkLst>
        </pc:spChg>
        <pc:spChg chg="mod">
          <ac:chgData name="Padhy, Bimal" userId="8b139dcf-f3e6-4d2e-bf13-fa923e73c8bf" providerId="ADAL" clId="{58060369-652C-4F0D-A227-67EE08962D04}" dt="2024-02-09T10:19:00.290" v="562"/>
          <ac:spMkLst>
            <pc:docMk/>
            <pc:sldMk cId="2837696084" sldId="2147380528"/>
            <ac:spMk id="7" creationId="{119063EE-B271-6DE2-422A-C71D172CA4CA}"/>
          </ac:spMkLst>
        </pc:spChg>
        <pc:grpChg chg="add mod">
          <ac:chgData name="Padhy, Bimal" userId="8b139dcf-f3e6-4d2e-bf13-fa923e73c8bf" providerId="ADAL" clId="{58060369-652C-4F0D-A227-67EE08962D04}" dt="2024-02-09T10:19:09.280" v="564" actId="1076"/>
          <ac:grpSpMkLst>
            <pc:docMk/>
            <pc:sldMk cId="2837696084" sldId="2147380528"/>
            <ac:grpSpMk id="3" creationId="{764AD482-6255-7BB8-0F90-D3DFC5DBE77C}"/>
          </ac:grpSpMkLst>
        </pc:grpChg>
        <pc:picChg chg="mod">
          <ac:chgData name="Padhy, Bimal" userId="8b139dcf-f3e6-4d2e-bf13-fa923e73c8bf" providerId="ADAL" clId="{58060369-652C-4F0D-A227-67EE08962D04}" dt="2024-02-09T10:19:05.040" v="563"/>
          <ac:picMkLst>
            <pc:docMk/>
            <pc:sldMk cId="2837696084" sldId="2147380528"/>
            <ac:picMk id="4" creationId="{241A23C0-E0EE-143C-B6A0-51F9FCFA5180}"/>
          </ac:picMkLst>
        </pc:picChg>
      </pc:sldChg>
      <pc:sldChg chg="addSp modSp add mod">
        <pc:chgData name="Padhy, Bimal" userId="8b139dcf-f3e6-4d2e-bf13-fa923e73c8bf" providerId="ADAL" clId="{58060369-652C-4F0D-A227-67EE08962D04}" dt="2024-02-09T10:19:39.094" v="570" actId="1076"/>
        <pc:sldMkLst>
          <pc:docMk/>
          <pc:sldMk cId="3982561045" sldId="2147380529"/>
        </pc:sldMkLst>
        <pc:spChg chg="add mod">
          <ac:chgData name="Padhy, Bimal" userId="8b139dcf-f3e6-4d2e-bf13-fa923e73c8bf" providerId="ADAL" clId="{58060369-652C-4F0D-A227-67EE08962D04}" dt="2024-02-09T10:19:39.094" v="570" actId="1076"/>
          <ac:spMkLst>
            <pc:docMk/>
            <pc:sldMk cId="3982561045" sldId="2147380529"/>
            <ac:spMk id="3" creationId="{3F6630DA-1941-4DE1-435B-904A6E315249}"/>
          </ac:spMkLst>
        </pc:spChg>
        <pc:spChg chg="mod">
          <ac:chgData name="Padhy, Bimal" userId="8b139dcf-f3e6-4d2e-bf13-fa923e73c8bf" providerId="ADAL" clId="{58060369-652C-4F0D-A227-67EE08962D04}" dt="2024-02-09T10:19:27.410" v="567" actId="20577"/>
          <ac:spMkLst>
            <pc:docMk/>
            <pc:sldMk cId="3982561045" sldId="2147380529"/>
            <ac:spMk id="6" creationId="{A75C12D9-0BCA-3B9C-BB01-BF32153C1E16}"/>
          </ac:spMkLst>
        </pc:spChg>
        <pc:spChg chg="mod">
          <ac:chgData name="Padhy, Bimal" userId="8b139dcf-f3e6-4d2e-bf13-fa923e73c8bf" providerId="ADAL" clId="{58060369-652C-4F0D-A227-67EE08962D04}" dt="2024-02-09T10:19:31.567" v="568"/>
          <ac:spMkLst>
            <pc:docMk/>
            <pc:sldMk cId="3982561045" sldId="2147380529"/>
            <ac:spMk id="7" creationId="{BEBBBF5E-DBDA-A784-0CBB-A8AD8B9DDFF6}"/>
          </ac:spMkLst>
        </pc:spChg>
      </pc:sldChg>
      <pc:sldChg chg="addSp modSp add mod">
        <pc:chgData name="Padhy, Bimal" userId="8b139dcf-f3e6-4d2e-bf13-fa923e73c8bf" providerId="ADAL" clId="{58060369-652C-4F0D-A227-67EE08962D04}" dt="2024-02-09T10:20:01.238" v="575" actId="1076"/>
        <pc:sldMkLst>
          <pc:docMk/>
          <pc:sldMk cId="1722316404" sldId="2147380530"/>
        </pc:sldMkLst>
        <pc:spChg chg="mod">
          <ac:chgData name="Padhy, Bimal" userId="8b139dcf-f3e6-4d2e-bf13-fa923e73c8bf" providerId="ADAL" clId="{58060369-652C-4F0D-A227-67EE08962D04}" dt="2024-02-09T10:19:59.409" v="574"/>
          <ac:spMkLst>
            <pc:docMk/>
            <pc:sldMk cId="1722316404" sldId="2147380530"/>
            <ac:spMk id="5" creationId="{F70E5511-ECC2-19DE-7FD4-3A7F0C501116}"/>
          </ac:spMkLst>
        </pc:spChg>
        <pc:spChg chg="mod">
          <ac:chgData name="Padhy, Bimal" userId="8b139dcf-f3e6-4d2e-bf13-fa923e73c8bf" providerId="ADAL" clId="{58060369-652C-4F0D-A227-67EE08962D04}" dt="2024-02-09T10:19:50.480" v="571"/>
          <ac:spMkLst>
            <pc:docMk/>
            <pc:sldMk cId="1722316404" sldId="2147380530"/>
            <ac:spMk id="6" creationId="{51B6F73F-3003-F3A1-F4FF-1FFED3FC93D5}"/>
          </ac:spMkLst>
        </pc:spChg>
        <pc:spChg chg="mod">
          <ac:chgData name="Padhy, Bimal" userId="8b139dcf-f3e6-4d2e-bf13-fa923e73c8bf" providerId="ADAL" clId="{58060369-652C-4F0D-A227-67EE08962D04}" dt="2024-02-09T10:19:55.412" v="573" actId="20577"/>
          <ac:spMkLst>
            <pc:docMk/>
            <pc:sldMk cId="1722316404" sldId="2147380530"/>
            <ac:spMk id="7" creationId="{F5E3BF85-DDC1-78C1-4496-4535408372D4}"/>
          </ac:spMkLst>
        </pc:spChg>
        <pc:grpChg chg="add mod">
          <ac:chgData name="Padhy, Bimal" userId="8b139dcf-f3e6-4d2e-bf13-fa923e73c8bf" providerId="ADAL" clId="{58060369-652C-4F0D-A227-67EE08962D04}" dt="2024-02-09T10:20:01.238" v="575" actId="1076"/>
          <ac:grpSpMkLst>
            <pc:docMk/>
            <pc:sldMk cId="1722316404" sldId="2147380530"/>
            <ac:grpSpMk id="3" creationId="{17675B01-9025-AE8D-0899-D39293F88194}"/>
          </ac:grpSpMkLst>
        </pc:grpChg>
        <pc:picChg chg="mod">
          <ac:chgData name="Padhy, Bimal" userId="8b139dcf-f3e6-4d2e-bf13-fa923e73c8bf" providerId="ADAL" clId="{58060369-652C-4F0D-A227-67EE08962D04}" dt="2024-02-09T10:19:59.409" v="574"/>
          <ac:picMkLst>
            <pc:docMk/>
            <pc:sldMk cId="1722316404" sldId="2147380530"/>
            <ac:picMk id="4" creationId="{45802D34-3FEB-1DE7-0881-34A024B7BDB9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9T10:20:57.695" v="594" actId="1076"/>
        <pc:sldMkLst>
          <pc:docMk/>
          <pc:sldMk cId="3013069155" sldId="2147380531"/>
        </pc:sldMkLst>
        <pc:spChg chg="mod">
          <ac:chgData name="Padhy, Bimal" userId="8b139dcf-f3e6-4d2e-bf13-fa923e73c8bf" providerId="ADAL" clId="{58060369-652C-4F0D-A227-67EE08962D04}" dt="2024-02-09T10:20:23.685" v="583" actId="20577"/>
          <ac:spMkLst>
            <pc:docMk/>
            <pc:sldMk cId="3013069155" sldId="2147380531"/>
            <ac:spMk id="6" creationId="{BB4C400C-8193-53A1-9195-4F3D51CEB51A}"/>
          </ac:spMkLst>
        </pc:spChg>
        <pc:spChg chg="mod">
          <ac:chgData name="Padhy, Bimal" userId="8b139dcf-f3e6-4d2e-bf13-fa923e73c8bf" providerId="ADAL" clId="{58060369-652C-4F0D-A227-67EE08962D04}" dt="2024-02-09T10:20:49.695" v="591" actId="20577"/>
          <ac:spMkLst>
            <pc:docMk/>
            <pc:sldMk cId="3013069155" sldId="2147380531"/>
            <ac:spMk id="7" creationId="{024DFD5C-645E-ACE4-F389-50AB7D2086FD}"/>
          </ac:spMkLst>
        </pc:spChg>
        <pc:spChg chg="mod">
          <ac:chgData name="Padhy, Bimal" userId="8b139dcf-f3e6-4d2e-bf13-fa923e73c8bf" providerId="ADAL" clId="{58060369-652C-4F0D-A227-67EE08962D04}" dt="2024-02-09T10:20:50.447" v="592"/>
          <ac:spMkLst>
            <pc:docMk/>
            <pc:sldMk cId="3013069155" sldId="2147380531"/>
            <ac:spMk id="11" creationId="{D3741A7C-9E59-A654-087D-57598351CD86}"/>
          </ac:spMkLst>
        </pc:spChg>
        <pc:grpChg chg="del">
          <ac:chgData name="Padhy, Bimal" userId="8b139dcf-f3e6-4d2e-bf13-fa923e73c8bf" providerId="ADAL" clId="{58060369-652C-4F0D-A227-67EE08962D04}" dt="2024-02-09T10:20:27.996" v="584" actId="478"/>
          <ac:grpSpMkLst>
            <pc:docMk/>
            <pc:sldMk cId="3013069155" sldId="2147380531"/>
            <ac:grpSpMk id="3" creationId="{91AEC942-5A2F-20DC-C2B2-6F3D61D022E2}"/>
          </ac:grpSpMkLst>
        </pc:grpChg>
        <pc:grpChg chg="add mod">
          <ac:chgData name="Padhy, Bimal" userId="8b139dcf-f3e6-4d2e-bf13-fa923e73c8bf" providerId="ADAL" clId="{58060369-652C-4F0D-A227-67EE08962D04}" dt="2024-02-09T10:20:57.695" v="594" actId="1076"/>
          <ac:grpSpMkLst>
            <pc:docMk/>
            <pc:sldMk cId="3013069155" sldId="2147380531"/>
            <ac:grpSpMk id="8" creationId="{718097FE-D4B7-D4DA-B1F3-C07DEB74A15F}"/>
          </ac:grpSpMkLst>
        </pc:grpChg>
        <pc:picChg chg="mod">
          <ac:chgData name="Padhy, Bimal" userId="8b139dcf-f3e6-4d2e-bf13-fa923e73c8bf" providerId="ADAL" clId="{58060369-652C-4F0D-A227-67EE08962D04}" dt="2024-02-09T10:20:50.447" v="592"/>
          <ac:picMkLst>
            <pc:docMk/>
            <pc:sldMk cId="3013069155" sldId="2147380531"/>
            <ac:picMk id="10" creationId="{9B1AB72F-795E-388E-3040-CBCA84ED73FD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9T10:21:48.120" v="607" actId="1076"/>
        <pc:sldMkLst>
          <pc:docMk/>
          <pc:sldMk cId="931005402" sldId="2147380532"/>
        </pc:sldMkLst>
        <pc:spChg chg="mod">
          <ac:chgData name="Padhy, Bimal" userId="8b139dcf-f3e6-4d2e-bf13-fa923e73c8bf" providerId="ADAL" clId="{58060369-652C-4F0D-A227-67EE08962D04}" dt="2024-02-09T10:21:12.738" v="596" actId="20577"/>
          <ac:spMkLst>
            <pc:docMk/>
            <pc:sldMk cId="931005402" sldId="2147380532"/>
            <ac:spMk id="6" creationId="{AF01377C-9FFD-1BF6-D779-005C17AEFBE6}"/>
          </ac:spMkLst>
        </pc:spChg>
        <pc:spChg chg="mod">
          <ac:chgData name="Padhy, Bimal" userId="8b139dcf-f3e6-4d2e-bf13-fa923e73c8bf" providerId="ADAL" clId="{58060369-652C-4F0D-A227-67EE08962D04}" dt="2024-02-09T10:21:39.074" v="604" actId="20577"/>
          <ac:spMkLst>
            <pc:docMk/>
            <pc:sldMk cId="931005402" sldId="2147380532"/>
            <ac:spMk id="7" creationId="{D36F1587-08AE-6C56-1838-23E257054249}"/>
          </ac:spMkLst>
        </pc:spChg>
        <pc:spChg chg="mod">
          <ac:chgData name="Padhy, Bimal" userId="8b139dcf-f3e6-4d2e-bf13-fa923e73c8bf" providerId="ADAL" clId="{58060369-652C-4F0D-A227-67EE08962D04}" dt="2024-02-09T10:21:39.424" v="605"/>
          <ac:spMkLst>
            <pc:docMk/>
            <pc:sldMk cId="931005402" sldId="2147380532"/>
            <ac:spMk id="11" creationId="{321FA52A-8AFC-20F9-A4B5-992B8D39FDF1}"/>
          </ac:spMkLst>
        </pc:spChg>
        <pc:grpChg chg="del">
          <ac:chgData name="Padhy, Bimal" userId="8b139dcf-f3e6-4d2e-bf13-fa923e73c8bf" providerId="ADAL" clId="{58060369-652C-4F0D-A227-67EE08962D04}" dt="2024-02-09T10:21:16.669" v="597" actId="478"/>
          <ac:grpSpMkLst>
            <pc:docMk/>
            <pc:sldMk cId="931005402" sldId="2147380532"/>
            <ac:grpSpMk id="3" creationId="{FD2DB051-42FE-96B8-1280-3C19F4271600}"/>
          </ac:grpSpMkLst>
        </pc:grpChg>
        <pc:grpChg chg="add mod">
          <ac:chgData name="Padhy, Bimal" userId="8b139dcf-f3e6-4d2e-bf13-fa923e73c8bf" providerId="ADAL" clId="{58060369-652C-4F0D-A227-67EE08962D04}" dt="2024-02-09T10:21:48.120" v="607" actId="1076"/>
          <ac:grpSpMkLst>
            <pc:docMk/>
            <pc:sldMk cId="931005402" sldId="2147380532"/>
            <ac:grpSpMk id="8" creationId="{242363FC-BB92-0329-0081-C71CB3B9B514}"/>
          </ac:grpSpMkLst>
        </pc:grpChg>
        <pc:picChg chg="mod">
          <ac:chgData name="Padhy, Bimal" userId="8b139dcf-f3e6-4d2e-bf13-fa923e73c8bf" providerId="ADAL" clId="{58060369-652C-4F0D-A227-67EE08962D04}" dt="2024-02-09T10:21:39.424" v="605"/>
          <ac:picMkLst>
            <pc:docMk/>
            <pc:sldMk cId="931005402" sldId="2147380532"/>
            <ac:picMk id="10" creationId="{0823E4C3-B796-3017-8A00-2744A9CA2325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9T10:23:06.692" v="624" actId="1076"/>
        <pc:sldMkLst>
          <pc:docMk/>
          <pc:sldMk cId="2175838576" sldId="2147380533"/>
        </pc:sldMkLst>
        <pc:spChg chg="mod">
          <ac:chgData name="Padhy, Bimal" userId="8b139dcf-f3e6-4d2e-bf13-fa923e73c8bf" providerId="ADAL" clId="{58060369-652C-4F0D-A227-67EE08962D04}" dt="2024-02-09T10:22:01.162" v="609" actId="20577"/>
          <ac:spMkLst>
            <pc:docMk/>
            <pc:sldMk cId="2175838576" sldId="2147380533"/>
            <ac:spMk id="6" creationId="{7D4A6FC3-516D-3E2F-7E91-81652147F8EC}"/>
          </ac:spMkLst>
        </pc:spChg>
        <pc:spChg chg="mod">
          <ac:chgData name="Padhy, Bimal" userId="8b139dcf-f3e6-4d2e-bf13-fa923e73c8bf" providerId="ADAL" clId="{58060369-652C-4F0D-A227-67EE08962D04}" dt="2024-02-09T10:23:00.148" v="623" actId="6549"/>
          <ac:spMkLst>
            <pc:docMk/>
            <pc:sldMk cId="2175838576" sldId="2147380533"/>
            <ac:spMk id="7" creationId="{2F105961-1DCE-249C-4F98-09A4BED572CF}"/>
          </ac:spMkLst>
        </pc:spChg>
        <pc:spChg chg="mod">
          <ac:chgData name="Padhy, Bimal" userId="8b139dcf-f3e6-4d2e-bf13-fa923e73c8bf" providerId="ADAL" clId="{58060369-652C-4F0D-A227-67EE08962D04}" dt="2024-02-09T10:22:55.696" v="620"/>
          <ac:spMkLst>
            <pc:docMk/>
            <pc:sldMk cId="2175838576" sldId="2147380533"/>
            <ac:spMk id="11" creationId="{E66CED28-D9D9-01E2-1FDA-A45411324CB4}"/>
          </ac:spMkLst>
        </pc:spChg>
        <pc:grpChg chg="del">
          <ac:chgData name="Padhy, Bimal" userId="8b139dcf-f3e6-4d2e-bf13-fa923e73c8bf" providerId="ADAL" clId="{58060369-652C-4F0D-A227-67EE08962D04}" dt="2024-02-09T10:22:08.922" v="611" actId="478"/>
          <ac:grpSpMkLst>
            <pc:docMk/>
            <pc:sldMk cId="2175838576" sldId="2147380533"/>
            <ac:grpSpMk id="3" creationId="{4E9EF3E9-C311-83A6-A897-EA1683688D63}"/>
          </ac:grpSpMkLst>
        </pc:grpChg>
        <pc:grpChg chg="add mod">
          <ac:chgData name="Padhy, Bimal" userId="8b139dcf-f3e6-4d2e-bf13-fa923e73c8bf" providerId="ADAL" clId="{58060369-652C-4F0D-A227-67EE08962D04}" dt="2024-02-09T10:23:06.692" v="624" actId="1076"/>
          <ac:grpSpMkLst>
            <pc:docMk/>
            <pc:sldMk cId="2175838576" sldId="2147380533"/>
            <ac:grpSpMk id="8" creationId="{6A1CEBA9-7B2D-753D-7AD9-14FA013D4527}"/>
          </ac:grpSpMkLst>
        </pc:grpChg>
        <pc:picChg chg="mod">
          <ac:chgData name="Padhy, Bimal" userId="8b139dcf-f3e6-4d2e-bf13-fa923e73c8bf" providerId="ADAL" clId="{58060369-652C-4F0D-A227-67EE08962D04}" dt="2024-02-09T10:22:55.696" v="620"/>
          <ac:picMkLst>
            <pc:docMk/>
            <pc:sldMk cId="2175838576" sldId="2147380533"/>
            <ac:picMk id="10" creationId="{CEF976FB-255E-44CF-1DBA-BF5F8FA18120}"/>
          </ac:picMkLst>
        </pc:picChg>
      </pc:sldChg>
      <pc:sldChg chg="addSp delSp modSp add mod">
        <pc:chgData name="Padhy, Bimal" userId="8b139dcf-f3e6-4d2e-bf13-fa923e73c8bf" providerId="ADAL" clId="{58060369-652C-4F0D-A227-67EE08962D04}" dt="2024-02-09T10:22:39.508" v="618"/>
        <pc:sldMkLst>
          <pc:docMk/>
          <pc:sldMk cId="91812129" sldId="2147380534"/>
        </pc:sldMkLst>
        <pc:spChg chg="mod">
          <ac:chgData name="Padhy, Bimal" userId="8b139dcf-f3e6-4d2e-bf13-fa923e73c8bf" providerId="ADAL" clId="{58060369-652C-4F0D-A227-67EE08962D04}" dt="2024-02-09T10:22:39.508" v="618"/>
          <ac:spMkLst>
            <pc:docMk/>
            <pc:sldMk cId="91812129" sldId="2147380534"/>
            <ac:spMk id="6" creationId="{E5BF472F-C3DA-5BC8-1D08-CAA0EF9D1BC0}"/>
          </ac:spMkLst>
        </pc:spChg>
        <pc:spChg chg="del mod">
          <ac:chgData name="Padhy, Bimal" userId="8b139dcf-f3e6-4d2e-bf13-fa923e73c8bf" providerId="ADAL" clId="{58060369-652C-4F0D-A227-67EE08962D04}" dt="2024-02-09T10:22:29.460" v="617" actId="478"/>
          <ac:spMkLst>
            <pc:docMk/>
            <pc:sldMk cId="91812129" sldId="2147380534"/>
            <ac:spMk id="7" creationId="{7AAA74F2-877F-E2AA-17A0-F1CF32ACCF7E}"/>
          </ac:spMkLst>
        </pc:spChg>
        <pc:spChg chg="mod">
          <ac:chgData name="Padhy, Bimal" userId="8b139dcf-f3e6-4d2e-bf13-fa923e73c8bf" providerId="ADAL" clId="{58060369-652C-4F0D-A227-67EE08962D04}" dt="2024-02-09T10:22:25.853" v="615"/>
          <ac:spMkLst>
            <pc:docMk/>
            <pc:sldMk cId="91812129" sldId="2147380534"/>
            <ac:spMk id="11" creationId="{A3A9EBBC-C921-94D4-27D2-B31E29E4E90A}"/>
          </ac:spMkLst>
        </pc:spChg>
        <pc:grpChg chg="del">
          <ac:chgData name="Padhy, Bimal" userId="8b139dcf-f3e6-4d2e-bf13-fa923e73c8bf" providerId="ADAL" clId="{58060369-652C-4F0D-A227-67EE08962D04}" dt="2024-02-09T10:22:21.624" v="613" actId="478"/>
          <ac:grpSpMkLst>
            <pc:docMk/>
            <pc:sldMk cId="91812129" sldId="2147380534"/>
            <ac:grpSpMk id="3" creationId="{5F9CF760-58D9-98CC-EE7F-B6C939D5FABD}"/>
          </ac:grpSpMkLst>
        </pc:grpChg>
        <pc:grpChg chg="add mod">
          <ac:chgData name="Padhy, Bimal" userId="8b139dcf-f3e6-4d2e-bf13-fa923e73c8bf" providerId="ADAL" clId="{58060369-652C-4F0D-A227-67EE08962D04}" dt="2024-02-09T10:22:27.543" v="616" actId="1076"/>
          <ac:grpSpMkLst>
            <pc:docMk/>
            <pc:sldMk cId="91812129" sldId="2147380534"/>
            <ac:grpSpMk id="8" creationId="{BAAE639E-F672-12F4-0B43-83E44CA60A7A}"/>
          </ac:grpSpMkLst>
        </pc:grpChg>
        <pc:picChg chg="mod">
          <ac:chgData name="Padhy, Bimal" userId="8b139dcf-f3e6-4d2e-bf13-fa923e73c8bf" providerId="ADAL" clId="{58060369-652C-4F0D-A227-67EE08962D04}" dt="2024-02-09T10:22:25.853" v="615"/>
          <ac:picMkLst>
            <pc:docMk/>
            <pc:sldMk cId="91812129" sldId="2147380534"/>
            <ac:picMk id="10" creationId="{5EF8A341-5839-31D0-F6E9-43266E22E178}"/>
          </ac:picMkLst>
        </pc:picChg>
      </pc:sldChg>
      <pc:sldChg chg="modSp add mod">
        <pc:chgData name="Padhy, Bimal" userId="8b139dcf-f3e6-4d2e-bf13-fa923e73c8bf" providerId="ADAL" clId="{58060369-652C-4F0D-A227-67EE08962D04}" dt="2024-02-09T10:23:27.673" v="635" actId="20577"/>
        <pc:sldMkLst>
          <pc:docMk/>
          <pc:sldMk cId="3331345454" sldId="2147380535"/>
        </pc:sldMkLst>
        <pc:spChg chg="mod">
          <ac:chgData name="Padhy, Bimal" userId="8b139dcf-f3e6-4d2e-bf13-fa923e73c8bf" providerId="ADAL" clId="{58060369-652C-4F0D-A227-67EE08962D04}" dt="2024-02-09T10:23:27.673" v="635" actId="20577"/>
          <ac:spMkLst>
            <pc:docMk/>
            <pc:sldMk cId="3331345454" sldId="2147380535"/>
            <ac:spMk id="12" creationId="{A53054CB-3E42-6D49-6A5B-53822FB1DA4A}"/>
          </ac:spMkLst>
        </pc:spChg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046756864" sldId="2147380536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410542714" sldId="2147380537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381921883" sldId="2147380538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254520004" sldId="2147380539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584656509" sldId="2147380540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184145076" sldId="2147380541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966659661" sldId="2147380542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989958900" sldId="2147380543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322176807" sldId="2147380544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3501441331" sldId="2147380545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102810877" sldId="2147380546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661179211" sldId="2147380547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511177290" sldId="2147380548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3415645517" sldId="2147380549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737378711" sldId="2147380550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295752224" sldId="2147380551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095837474" sldId="2147380552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3399137417" sldId="2147380553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650211238" sldId="2147380554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444817845" sldId="2147380555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632024844" sldId="2147380556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4017011667" sldId="2147380557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20428701" sldId="2147380558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3622781777" sldId="2147380559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2066739406" sldId="2147380560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4147352894" sldId="2147380561"/>
        </pc:sldMkLst>
      </pc:sldChg>
      <pc:sldChg chg="add">
        <pc:chgData name="Padhy, Bimal" userId="8b139dcf-f3e6-4d2e-bf13-fa923e73c8bf" providerId="ADAL" clId="{58060369-652C-4F0D-A227-67EE08962D04}" dt="2024-02-20T15:11:26.299" v="648"/>
        <pc:sldMkLst>
          <pc:docMk/>
          <pc:sldMk cId="1065694472" sldId="2147380562"/>
        </pc:sldMkLst>
      </pc:sldChg>
    </pc:docChg>
  </pc:docChgLst>
  <pc:docChgLst>
    <pc:chgData name="Shivanandappa, Kiran" userId="51761c3b-3f32-4356-bf4f-c63fb407c3d1" providerId="ADAL" clId="{542BE93F-A584-4712-9174-1D749C154FC8}"/>
    <pc:docChg chg="undo custSel addSld delSld modSld delMainMaster">
      <pc:chgData name="Shivanandappa, Kiran" userId="51761c3b-3f32-4356-bf4f-c63fb407c3d1" providerId="ADAL" clId="{542BE93F-A584-4712-9174-1D749C154FC8}" dt="2024-02-01T12:39:18.030" v="493" actId="1076"/>
      <pc:docMkLst>
        <pc:docMk/>
      </pc:docMkLst>
      <pc:sldChg chg="addSp delSp modSp del mod">
        <pc:chgData name="Shivanandappa, Kiran" userId="51761c3b-3f32-4356-bf4f-c63fb407c3d1" providerId="ADAL" clId="{542BE93F-A584-4712-9174-1D749C154FC8}" dt="2024-02-01T12:25:55.276" v="289" actId="47"/>
        <pc:sldMkLst>
          <pc:docMk/>
          <pc:sldMk cId="2188773729" sldId="257"/>
        </pc:sldMkLst>
        <pc:spChg chg="mod">
          <ac:chgData name="Shivanandappa, Kiran" userId="51761c3b-3f32-4356-bf4f-c63fb407c3d1" providerId="ADAL" clId="{542BE93F-A584-4712-9174-1D749C154FC8}" dt="2024-02-01T12:20:42.151" v="149" actId="1076"/>
          <ac:spMkLst>
            <pc:docMk/>
            <pc:sldMk cId="2188773729" sldId="257"/>
            <ac:spMk id="2" creationId="{00000000-0000-0000-0000-000000000000}"/>
          </ac:spMkLst>
        </pc:spChg>
        <pc:spChg chg="add del mod">
          <ac:chgData name="Shivanandappa, Kiran" userId="51761c3b-3f32-4356-bf4f-c63fb407c3d1" providerId="ADAL" clId="{542BE93F-A584-4712-9174-1D749C154FC8}" dt="2024-02-01T11:21:27.515" v="90" actId="478"/>
          <ac:spMkLst>
            <pc:docMk/>
            <pc:sldMk cId="2188773729" sldId="257"/>
            <ac:spMk id="3" creationId="{FBDDB1CE-82CD-1FEC-7FF3-4DB6B4F9E20A}"/>
          </ac:spMkLst>
        </pc:spChg>
      </pc:sldChg>
      <pc:sldChg chg="del">
        <pc:chgData name="Shivanandappa, Kiran" userId="51761c3b-3f32-4356-bf4f-c63fb407c3d1" providerId="ADAL" clId="{542BE93F-A584-4712-9174-1D749C154FC8}" dt="2024-02-01T12:25:55.276" v="289" actId="47"/>
        <pc:sldMkLst>
          <pc:docMk/>
          <pc:sldMk cId="502825377" sldId="258"/>
        </pc:sldMkLst>
      </pc:sldChg>
      <pc:sldChg chg="modSp del mod">
        <pc:chgData name="Shivanandappa, Kiran" userId="51761c3b-3f32-4356-bf4f-c63fb407c3d1" providerId="ADAL" clId="{542BE93F-A584-4712-9174-1D749C154FC8}" dt="2024-02-01T11:20:13.007" v="83" actId="47"/>
        <pc:sldMkLst>
          <pc:docMk/>
          <pc:sldMk cId="82310802" sldId="259"/>
        </pc:sldMkLst>
        <pc:spChg chg="mod">
          <ac:chgData name="Shivanandappa, Kiran" userId="51761c3b-3f32-4356-bf4f-c63fb407c3d1" providerId="ADAL" clId="{542BE93F-A584-4712-9174-1D749C154FC8}" dt="2024-02-01T11:17:53.726" v="8" actId="1076"/>
          <ac:spMkLst>
            <pc:docMk/>
            <pc:sldMk cId="82310802" sldId="259"/>
            <ac:spMk id="4" creationId="{00000000-0000-0000-0000-000000000000}"/>
          </ac:spMkLst>
        </pc:spChg>
        <pc:spChg chg="mod">
          <ac:chgData name="Shivanandappa, Kiran" userId="51761c3b-3f32-4356-bf4f-c63fb407c3d1" providerId="ADAL" clId="{542BE93F-A584-4712-9174-1D749C154FC8}" dt="2024-02-01T11:17:51.632" v="7" actId="1076"/>
          <ac:spMkLst>
            <pc:docMk/>
            <pc:sldMk cId="82310802" sldId="259"/>
            <ac:spMk id="8" creationId="{00000000-0000-0000-0000-000000000000}"/>
          </ac:spMkLst>
        </pc:spChg>
      </pc:sldChg>
      <pc:sldChg chg="addSp delSp modSp mod">
        <pc:chgData name="Shivanandappa, Kiran" userId="51761c3b-3f32-4356-bf4f-c63fb407c3d1" providerId="ADAL" clId="{542BE93F-A584-4712-9174-1D749C154FC8}" dt="2024-02-01T12:36:40.816" v="440" actId="20577"/>
        <pc:sldMkLst>
          <pc:docMk/>
          <pc:sldMk cId="3241851453" sldId="2147380473"/>
        </pc:sldMkLst>
        <pc:spChg chg="mod">
          <ac:chgData name="Shivanandappa, Kiran" userId="51761c3b-3f32-4356-bf4f-c63fb407c3d1" providerId="ADAL" clId="{542BE93F-A584-4712-9174-1D749C154FC8}" dt="2024-02-01T12:36:40.816" v="440" actId="20577"/>
          <ac:spMkLst>
            <pc:docMk/>
            <pc:sldMk cId="3241851453" sldId="2147380473"/>
            <ac:spMk id="10" creationId="{650ADC35-0623-2438-8788-CD67590068E4}"/>
          </ac:spMkLst>
        </pc:spChg>
        <pc:spChg chg="mod">
          <ac:chgData name="Shivanandappa, Kiran" userId="51761c3b-3f32-4356-bf4f-c63fb407c3d1" providerId="ADAL" clId="{542BE93F-A584-4712-9174-1D749C154FC8}" dt="2024-02-01T11:22:54.609" v="105" actId="2711"/>
          <ac:spMkLst>
            <pc:docMk/>
            <pc:sldMk cId="3241851453" sldId="2147380473"/>
            <ac:spMk id="11" creationId="{00242981-E871-8163-21B5-B801C9F76EC1}"/>
          </ac:spMkLst>
        </pc:spChg>
        <pc:spChg chg="add del mod">
          <ac:chgData name="Shivanandappa, Kiran" userId="51761c3b-3f32-4356-bf4f-c63fb407c3d1" providerId="ADAL" clId="{542BE93F-A584-4712-9174-1D749C154FC8}" dt="2024-02-01T12:30:13.282" v="301" actId="22"/>
          <ac:spMkLst>
            <pc:docMk/>
            <pc:sldMk cId="3241851453" sldId="2147380473"/>
            <ac:spMk id="15" creationId="{6A0BEBFD-C0CB-8D88-3F37-10B14F5A24B8}"/>
          </ac:spMkLst>
        </pc:spChg>
        <pc:picChg chg="add del mod">
          <ac:chgData name="Shivanandappa, Kiran" userId="51761c3b-3f32-4356-bf4f-c63fb407c3d1" providerId="ADAL" clId="{542BE93F-A584-4712-9174-1D749C154FC8}" dt="2024-02-01T12:31:45.713" v="416" actId="21"/>
          <ac:picMkLst>
            <pc:docMk/>
            <pc:sldMk cId="3241851453" sldId="2147380473"/>
            <ac:picMk id="20" creationId="{31726918-1C3F-A31F-6548-8FB4F9C293AD}"/>
          </ac:picMkLst>
        </pc:picChg>
        <pc:picChg chg="add mod">
          <ac:chgData name="Shivanandappa, Kiran" userId="51761c3b-3f32-4356-bf4f-c63fb407c3d1" providerId="ADAL" clId="{542BE93F-A584-4712-9174-1D749C154FC8}" dt="2024-02-01T12:32:11.776" v="429" actId="1076"/>
          <ac:picMkLst>
            <pc:docMk/>
            <pc:sldMk cId="3241851453" sldId="2147380473"/>
            <ac:picMk id="21" creationId="{31726918-1C3F-A31F-6548-8FB4F9C293AD}"/>
          </ac:picMkLst>
        </pc:picChg>
      </pc:sldChg>
      <pc:sldChg chg="addSp modSp mod">
        <pc:chgData name="Shivanandappa, Kiran" userId="51761c3b-3f32-4356-bf4f-c63fb407c3d1" providerId="ADAL" clId="{542BE93F-A584-4712-9174-1D749C154FC8}" dt="2024-02-01T12:37:19.774" v="464" actId="1076"/>
        <pc:sldMkLst>
          <pc:docMk/>
          <pc:sldMk cId="3431071288" sldId="2147380474"/>
        </pc:sldMkLst>
        <pc:spChg chg="add mod">
          <ac:chgData name="Shivanandappa, Kiran" userId="51761c3b-3f32-4356-bf4f-c63fb407c3d1" providerId="ADAL" clId="{542BE93F-A584-4712-9174-1D749C154FC8}" dt="2024-02-01T12:37:19.774" v="464" actId="1076"/>
          <ac:spMkLst>
            <pc:docMk/>
            <pc:sldMk cId="3431071288" sldId="2147380474"/>
            <ac:spMk id="20" creationId="{32551F40-98EC-8077-448C-560FEDB6BAC1}"/>
          </ac:spMkLst>
        </pc:spChg>
      </pc:sldChg>
      <pc:sldChg chg="addSp delSp modSp mod">
        <pc:chgData name="Shivanandappa, Kiran" userId="51761c3b-3f32-4356-bf4f-c63fb407c3d1" providerId="ADAL" clId="{542BE93F-A584-4712-9174-1D749C154FC8}" dt="2024-02-01T12:39:18.030" v="493" actId="1076"/>
        <pc:sldMkLst>
          <pc:docMk/>
          <pc:sldMk cId="2559449141" sldId="2147380475"/>
        </pc:sldMkLst>
        <pc:spChg chg="del mod">
          <ac:chgData name="Shivanandappa, Kiran" userId="51761c3b-3f32-4356-bf4f-c63fb407c3d1" providerId="ADAL" clId="{542BE93F-A584-4712-9174-1D749C154FC8}" dt="2024-02-01T11:17:00.322" v="2"/>
          <ac:spMkLst>
            <pc:docMk/>
            <pc:sldMk cId="2559449141" sldId="2147380475"/>
            <ac:spMk id="10" creationId="{650ADC35-0623-2438-8788-CD67590068E4}"/>
          </ac:spMkLst>
        </pc:spChg>
        <pc:spChg chg="mod">
          <ac:chgData name="Shivanandappa, Kiran" userId="51761c3b-3f32-4356-bf4f-c63fb407c3d1" providerId="ADAL" clId="{542BE93F-A584-4712-9174-1D749C154FC8}" dt="2024-02-01T12:37:44.930" v="474" actId="313"/>
          <ac:spMkLst>
            <pc:docMk/>
            <pc:sldMk cId="2559449141" sldId="2147380475"/>
            <ac:spMk id="11" creationId="{00242981-E871-8163-21B5-B801C9F76EC1}"/>
          </ac:spMkLst>
        </pc:spChg>
        <pc:spChg chg="add mod">
          <ac:chgData name="Shivanandappa, Kiran" userId="51761c3b-3f32-4356-bf4f-c63fb407c3d1" providerId="ADAL" clId="{542BE93F-A584-4712-9174-1D749C154FC8}" dt="2024-02-01T12:39:18.030" v="493" actId="1076"/>
          <ac:spMkLst>
            <pc:docMk/>
            <pc:sldMk cId="2559449141" sldId="2147380475"/>
            <ac:spMk id="12" creationId="{BDA3E70A-332A-A9D2-B7D3-9BB22C6C97B3}"/>
          </ac:spMkLst>
        </pc:spChg>
        <pc:spChg chg="add mod">
          <ac:chgData name="Shivanandappa, Kiran" userId="51761c3b-3f32-4356-bf4f-c63fb407c3d1" providerId="ADAL" clId="{542BE93F-A584-4712-9174-1D749C154FC8}" dt="2024-02-01T12:39:13.081" v="492" actId="20577"/>
          <ac:spMkLst>
            <pc:docMk/>
            <pc:sldMk cId="2559449141" sldId="2147380475"/>
            <ac:spMk id="13" creationId="{A481D4C1-7B81-401F-011D-CA60C84C4CEC}"/>
          </ac:spMkLst>
        </pc:spChg>
      </pc:sldChg>
      <pc:sldChg chg="addSp delSp modSp mod">
        <pc:chgData name="Shivanandappa, Kiran" userId="51761c3b-3f32-4356-bf4f-c63fb407c3d1" providerId="ADAL" clId="{542BE93F-A584-4712-9174-1D749C154FC8}" dt="2024-02-01T12:37:57.248" v="477" actId="20577"/>
        <pc:sldMkLst>
          <pc:docMk/>
          <pc:sldMk cId="113925078" sldId="2147380476"/>
        </pc:sldMkLst>
        <pc:spChg chg="add mod">
          <ac:chgData name="Shivanandappa, Kiran" userId="51761c3b-3f32-4356-bf4f-c63fb407c3d1" providerId="ADAL" clId="{542BE93F-A584-4712-9174-1D749C154FC8}" dt="2024-02-01T12:18:37.295" v="143" actId="1076"/>
          <ac:spMkLst>
            <pc:docMk/>
            <pc:sldMk cId="113925078" sldId="2147380476"/>
            <ac:spMk id="2" creationId="{327EDB8E-B7C9-1627-85B8-826C1D987BCE}"/>
          </ac:spMkLst>
        </pc:spChg>
        <pc:spChg chg="mod">
          <ac:chgData name="Shivanandappa, Kiran" userId="51761c3b-3f32-4356-bf4f-c63fb407c3d1" providerId="ADAL" clId="{542BE93F-A584-4712-9174-1D749C154FC8}" dt="2024-02-01T12:24:56.793" v="288" actId="207"/>
          <ac:spMkLst>
            <pc:docMk/>
            <pc:sldMk cId="113925078" sldId="2147380476"/>
            <ac:spMk id="4" creationId="{0D4C463F-BAD6-12A1-CE7B-AEB3F1F4A238}"/>
          </ac:spMkLst>
        </pc:spChg>
        <pc:spChg chg="mod">
          <ac:chgData name="Shivanandappa, Kiran" userId="51761c3b-3f32-4356-bf4f-c63fb407c3d1" providerId="ADAL" clId="{542BE93F-A584-4712-9174-1D749C154FC8}" dt="2024-02-01T12:24:56.793" v="288" actId="207"/>
          <ac:spMkLst>
            <pc:docMk/>
            <pc:sldMk cId="113925078" sldId="2147380476"/>
            <ac:spMk id="5" creationId="{053FF895-B162-620F-AED5-C7CAD078DF60}"/>
          </ac:spMkLst>
        </pc:spChg>
        <pc:spChg chg="mod">
          <ac:chgData name="Shivanandappa, Kiran" userId="51761c3b-3f32-4356-bf4f-c63fb407c3d1" providerId="ADAL" clId="{542BE93F-A584-4712-9174-1D749C154FC8}" dt="2024-02-01T12:24:56.793" v="288" actId="207"/>
          <ac:spMkLst>
            <pc:docMk/>
            <pc:sldMk cId="113925078" sldId="2147380476"/>
            <ac:spMk id="6" creationId="{C6DA1E0F-AFF0-BB4B-B4F5-1526728727CE}"/>
          </ac:spMkLst>
        </pc:spChg>
        <pc:spChg chg="mod">
          <ac:chgData name="Shivanandappa, Kiran" userId="51761c3b-3f32-4356-bf4f-c63fb407c3d1" providerId="ADAL" clId="{542BE93F-A584-4712-9174-1D749C154FC8}" dt="2024-02-01T12:24:56.793" v="288" actId="207"/>
          <ac:spMkLst>
            <pc:docMk/>
            <pc:sldMk cId="113925078" sldId="2147380476"/>
            <ac:spMk id="7" creationId="{0C597621-C9E4-6A18-8DF7-E20BEA0B7A7F}"/>
          </ac:spMkLst>
        </pc:spChg>
        <pc:spChg chg="mod">
          <ac:chgData name="Shivanandappa, Kiran" userId="51761c3b-3f32-4356-bf4f-c63fb407c3d1" providerId="ADAL" clId="{542BE93F-A584-4712-9174-1D749C154FC8}" dt="2024-02-01T12:24:56.793" v="288" actId="207"/>
          <ac:spMkLst>
            <pc:docMk/>
            <pc:sldMk cId="113925078" sldId="2147380476"/>
            <ac:spMk id="8" creationId="{C814F761-2451-BBDA-A734-82C29DCECD8C}"/>
          </ac:spMkLst>
        </pc:spChg>
        <pc:spChg chg="add mod">
          <ac:chgData name="Shivanandappa, Kiran" userId="51761c3b-3f32-4356-bf4f-c63fb407c3d1" providerId="ADAL" clId="{542BE93F-A584-4712-9174-1D749C154FC8}" dt="2024-02-01T12:23:34.464" v="192" actId="20577"/>
          <ac:spMkLst>
            <pc:docMk/>
            <pc:sldMk cId="113925078" sldId="2147380476"/>
            <ac:spMk id="10" creationId="{AC243C06-AC56-FC2F-A977-002E0F37AFB6}"/>
          </ac:spMkLst>
        </pc:spChg>
        <pc:spChg chg="mod">
          <ac:chgData name="Shivanandappa, Kiran" userId="51761c3b-3f32-4356-bf4f-c63fb407c3d1" providerId="ADAL" clId="{542BE93F-A584-4712-9174-1D749C154FC8}" dt="2024-02-01T12:37:57.248" v="477" actId="20577"/>
          <ac:spMkLst>
            <pc:docMk/>
            <pc:sldMk cId="113925078" sldId="2147380476"/>
            <ac:spMk id="11" creationId="{00242981-E871-8163-21B5-B801C9F76EC1}"/>
          </ac:spMkLst>
        </pc:spChg>
        <pc:spChg chg="del">
          <ac:chgData name="Shivanandappa, Kiran" userId="51761c3b-3f32-4356-bf4f-c63fb407c3d1" providerId="ADAL" clId="{542BE93F-A584-4712-9174-1D749C154FC8}" dt="2024-02-01T11:21:23.381" v="89" actId="478"/>
          <ac:spMkLst>
            <pc:docMk/>
            <pc:sldMk cId="113925078" sldId="2147380476"/>
            <ac:spMk id="12" creationId="{BDA3E70A-332A-A9D2-B7D3-9BB22C6C97B3}"/>
          </ac:spMkLst>
        </pc:spChg>
        <pc:spChg chg="del">
          <ac:chgData name="Shivanandappa, Kiran" userId="51761c3b-3f32-4356-bf4f-c63fb407c3d1" providerId="ADAL" clId="{542BE93F-A584-4712-9174-1D749C154FC8}" dt="2024-02-01T11:21:23.381" v="89" actId="478"/>
          <ac:spMkLst>
            <pc:docMk/>
            <pc:sldMk cId="113925078" sldId="2147380476"/>
            <ac:spMk id="13" creationId="{A481D4C1-7B81-401F-011D-CA60C84C4CEC}"/>
          </ac:spMkLst>
        </pc:spChg>
        <pc:grpChg chg="mod">
          <ac:chgData name="Shivanandappa, Kiran" userId="51761c3b-3f32-4356-bf4f-c63fb407c3d1" providerId="ADAL" clId="{542BE93F-A584-4712-9174-1D749C154FC8}" dt="2024-02-01T12:24:56.793" v="288" actId="207"/>
          <ac:grpSpMkLst>
            <pc:docMk/>
            <pc:sldMk cId="113925078" sldId="2147380476"/>
            <ac:grpSpMk id="3" creationId="{891FE0CB-C55F-3571-F35E-99BE6CDA94EF}"/>
          </ac:grpSpMkLst>
        </pc:grpChg>
        <pc:picChg chg="add mod">
          <ac:chgData name="Shivanandappa, Kiran" userId="51761c3b-3f32-4356-bf4f-c63fb407c3d1" providerId="ADAL" clId="{542BE93F-A584-4712-9174-1D749C154FC8}" dt="2024-02-01T11:23:58.065" v="114" actId="14100"/>
          <ac:picMkLst>
            <pc:docMk/>
            <pc:sldMk cId="113925078" sldId="2147380476"/>
            <ac:picMk id="14" creationId="{179BF968-EBB1-45E8-3F49-557C6F60B215}"/>
          </ac:picMkLst>
        </pc:picChg>
      </pc:sldChg>
      <pc:sldChg chg="addSp delSp modSp add mod">
        <pc:chgData name="Shivanandappa, Kiran" userId="51761c3b-3f32-4356-bf4f-c63fb407c3d1" providerId="ADAL" clId="{542BE93F-A584-4712-9174-1D749C154FC8}" dt="2024-02-01T12:38:03.324" v="480" actId="20577"/>
        <pc:sldMkLst>
          <pc:docMk/>
          <pc:sldMk cId="2278583291" sldId="2147380477"/>
        </pc:sldMkLst>
        <pc:spChg chg="mod">
          <ac:chgData name="Shivanandappa, Kiran" userId="51761c3b-3f32-4356-bf4f-c63fb407c3d1" providerId="ADAL" clId="{542BE93F-A584-4712-9174-1D749C154FC8}" dt="2024-02-01T12:20:55.892" v="166" actId="20577"/>
          <ac:spMkLst>
            <pc:docMk/>
            <pc:sldMk cId="2278583291" sldId="2147380477"/>
            <ac:spMk id="2" creationId="{327EDB8E-B7C9-1627-85B8-826C1D987BCE}"/>
          </ac:spMkLst>
        </pc:spChg>
        <pc:spChg chg="mod">
          <ac:chgData name="Shivanandappa, Kiran" userId="51761c3b-3f32-4356-bf4f-c63fb407c3d1" providerId="ADAL" clId="{542BE93F-A584-4712-9174-1D749C154FC8}" dt="2024-02-01T12:23:20.136" v="182" actId="5793"/>
          <ac:spMkLst>
            <pc:docMk/>
            <pc:sldMk cId="2278583291" sldId="2147380477"/>
            <ac:spMk id="10" creationId="{AC243C06-AC56-FC2F-A977-002E0F37AFB6}"/>
          </ac:spMkLst>
        </pc:spChg>
        <pc:spChg chg="mod">
          <ac:chgData name="Shivanandappa, Kiran" userId="51761c3b-3f32-4356-bf4f-c63fb407c3d1" providerId="ADAL" clId="{542BE93F-A584-4712-9174-1D749C154FC8}" dt="2024-02-01T12:38:03.324" v="480" actId="20577"/>
          <ac:spMkLst>
            <pc:docMk/>
            <pc:sldMk cId="2278583291" sldId="2147380477"/>
            <ac:spMk id="11" creationId="{00242981-E871-8163-21B5-B801C9F76EC1}"/>
          </ac:spMkLst>
        </pc:spChg>
        <pc:spChg chg="add mod">
          <ac:chgData name="Shivanandappa, Kiran" userId="51761c3b-3f32-4356-bf4f-c63fb407c3d1" providerId="ADAL" clId="{542BE93F-A584-4712-9174-1D749C154FC8}" dt="2024-02-01T12:21:37.745" v="172"/>
          <ac:spMkLst>
            <pc:docMk/>
            <pc:sldMk cId="2278583291" sldId="2147380477"/>
            <ac:spMk id="16" creationId="{AD8BEB3A-ACC7-021D-D9BA-9A71F3A49CEE}"/>
          </ac:spMkLst>
        </pc:spChg>
        <pc:picChg chg="add del mod">
          <ac:chgData name="Shivanandappa, Kiran" userId="51761c3b-3f32-4356-bf4f-c63fb407c3d1" providerId="ADAL" clId="{542BE93F-A584-4712-9174-1D749C154FC8}" dt="2024-02-01T12:21:16.642" v="168" actId="478"/>
          <ac:picMkLst>
            <pc:docMk/>
            <pc:sldMk cId="2278583291" sldId="2147380477"/>
            <ac:picMk id="12" creationId="{C92B4C9F-B4B1-8E7A-F787-B6AFD834DAF6}"/>
          </ac:picMkLst>
        </pc:picChg>
        <pc:picChg chg="add mod">
          <ac:chgData name="Shivanandappa, Kiran" userId="51761c3b-3f32-4356-bf4f-c63fb407c3d1" providerId="ADAL" clId="{542BE93F-A584-4712-9174-1D749C154FC8}" dt="2024-02-01T12:21:13.365" v="167"/>
          <ac:picMkLst>
            <pc:docMk/>
            <pc:sldMk cId="2278583291" sldId="2147380477"/>
            <ac:picMk id="13" creationId="{86805D0D-62B4-4033-8FC1-97158FA49AF5}"/>
          </ac:picMkLst>
        </pc:picChg>
        <pc:picChg chg="del">
          <ac:chgData name="Shivanandappa, Kiran" userId="51761c3b-3f32-4356-bf4f-c63fb407c3d1" providerId="ADAL" clId="{542BE93F-A584-4712-9174-1D749C154FC8}" dt="2024-02-01T12:20:23.499" v="146" actId="478"/>
          <ac:picMkLst>
            <pc:docMk/>
            <pc:sldMk cId="2278583291" sldId="2147380477"/>
            <ac:picMk id="14" creationId="{179BF968-EBB1-45E8-3F49-557C6F60B215}"/>
          </ac:picMkLst>
        </pc:picChg>
        <pc:picChg chg="add mod">
          <ac:chgData name="Shivanandappa, Kiran" userId="51761c3b-3f32-4356-bf4f-c63fb407c3d1" providerId="ADAL" clId="{542BE93F-A584-4712-9174-1D749C154FC8}" dt="2024-02-01T12:21:22.741" v="171" actId="14100"/>
          <ac:picMkLst>
            <pc:docMk/>
            <pc:sldMk cId="2278583291" sldId="2147380477"/>
            <ac:picMk id="15" creationId="{8C72E913-2892-DC33-E09D-A81883CB713F}"/>
          </ac:picMkLst>
        </pc:picChg>
      </pc:sldChg>
      <pc:sldMasterChg chg="del delSldLayout">
        <pc:chgData name="Shivanandappa, Kiran" userId="51761c3b-3f32-4356-bf4f-c63fb407c3d1" providerId="ADAL" clId="{542BE93F-A584-4712-9174-1D749C154FC8}" dt="2024-02-01T12:25:55.276" v="289" actId="47"/>
        <pc:sldMasterMkLst>
          <pc:docMk/>
          <pc:sldMasterMk cId="0" sldId="2147483648"/>
        </pc:sldMasterMkLst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49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0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1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2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3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4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5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6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7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8"/>
          </pc:sldLayoutMkLst>
        </pc:sldLayoutChg>
        <pc:sldLayoutChg chg="del">
          <pc:chgData name="Shivanandappa, Kiran" userId="51761c3b-3f32-4356-bf4f-c63fb407c3d1" providerId="ADAL" clId="{542BE93F-A584-4712-9174-1D749C154FC8}" dt="2024-02-01T12:25:55.276" v="289" actId="47"/>
          <pc:sldLayoutMkLst>
            <pc:docMk/>
            <pc:sldMasterMk cId="0" sldId="2147483648"/>
            <pc:sldLayoutMk cId="0" sldId="2147483659"/>
          </pc:sldLayoutMkLst>
        </pc:sldLayoutChg>
      </pc:sldMasterChg>
    </pc:docChg>
  </pc:docChgLst>
  <pc:docChgLst>
    <pc:chgData name="Padhy, Bimal" userId="8b139dcf-f3e6-4d2e-bf13-fa923e73c8bf" providerId="ADAL" clId="{FCD6E1BB-2252-40F3-BDA7-5F5B2D7A8AB6}"/>
    <pc:docChg chg="undo custSel addSld delSld modSld">
      <pc:chgData name="Padhy, Bimal" userId="8b139dcf-f3e6-4d2e-bf13-fa923e73c8bf" providerId="ADAL" clId="{FCD6E1BB-2252-40F3-BDA7-5F5B2D7A8AB6}" dt="2024-03-06T15:44:41.784" v="194" actId="1076"/>
      <pc:docMkLst>
        <pc:docMk/>
      </pc:docMkLst>
      <pc:sldChg chg="modSp mod">
        <pc:chgData name="Padhy, Bimal" userId="8b139dcf-f3e6-4d2e-bf13-fa923e73c8bf" providerId="ADAL" clId="{FCD6E1BB-2252-40F3-BDA7-5F5B2D7A8AB6}" dt="2024-02-21T18:00:12.853" v="3" actId="1036"/>
        <pc:sldMkLst>
          <pc:docMk/>
          <pc:sldMk cId="1135927757" sldId="2147380494"/>
        </pc:sldMkLst>
        <pc:picChg chg="mod">
          <ac:chgData name="Padhy, Bimal" userId="8b139dcf-f3e6-4d2e-bf13-fa923e73c8bf" providerId="ADAL" clId="{FCD6E1BB-2252-40F3-BDA7-5F5B2D7A8AB6}" dt="2024-02-21T18:00:12.853" v="3" actId="1036"/>
          <ac:picMkLst>
            <pc:docMk/>
            <pc:sldMk cId="1135927757" sldId="2147380494"/>
            <ac:picMk id="3" creationId="{20AA3775-FEEE-0179-98FC-BF94E0041EC5}"/>
          </ac:picMkLst>
        </pc:picChg>
      </pc:sldChg>
      <pc:sldChg chg="modSp mod">
        <pc:chgData name="Padhy, Bimal" userId="8b139dcf-f3e6-4d2e-bf13-fa923e73c8bf" providerId="ADAL" clId="{FCD6E1BB-2252-40F3-BDA7-5F5B2D7A8AB6}" dt="2024-02-21T18:05:52.927" v="7" actId="6549"/>
        <pc:sldMkLst>
          <pc:docMk/>
          <pc:sldMk cId="1122223435" sldId="2147380496"/>
        </pc:sldMkLst>
        <pc:spChg chg="mod">
          <ac:chgData name="Padhy, Bimal" userId="8b139dcf-f3e6-4d2e-bf13-fa923e73c8bf" providerId="ADAL" clId="{FCD6E1BB-2252-40F3-BDA7-5F5B2D7A8AB6}" dt="2024-02-21T18:05:52.927" v="7" actId="6549"/>
          <ac:spMkLst>
            <pc:docMk/>
            <pc:sldMk cId="1122223435" sldId="2147380496"/>
            <ac:spMk id="7" creationId="{411D760B-D9C5-AD6B-A013-DFFB7A55A45D}"/>
          </ac:spMkLst>
        </pc:spChg>
      </pc:sldChg>
      <pc:sldChg chg="addSp delSp modSp mod">
        <pc:chgData name="Padhy, Bimal" userId="8b139dcf-f3e6-4d2e-bf13-fa923e73c8bf" providerId="ADAL" clId="{FCD6E1BB-2252-40F3-BDA7-5F5B2D7A8AB6}" dt="2024-02-22T06:56:17.160" v="26" actId="1076"/>
        <pc:sldMkLst>
          <pc:docMk/>
          <pc:sldMk cId="3557658823" sldId="2147380506"/>
        </pc:sldMkLst>
        <pc:spChg chg="add mod">
          <ac:chgData name="Padhy, Bimal" userId="8b139dcf-f3e6-4d2e-bf13-fa923e73c8bf" providerId="ADAL" clId="{FCD6E1BB-2252-40F3-BDA7-5F5B2D7A8AB6}" dt="2024-02-22T06:56:09.885" v="24" actId="14100"/>
          <ac:spMkLst>
            <pc:docMk/>
            <pc:sldMk cId="3557658823" sldId="2147380506"/>
            <ac:spMk id="8" creationId="{DE0C807C-32DB-5CC7-C757-B9F82B4DA2E7}"/>
          </ac:spMkLst>
        </pc:spChg>
        <pc:spChg chg="add mod">
          <ac:chgData name="Padhy, Bimal" userId="8b139dcf-f3e6-4d2e-bf13-fa923e73c8bf" providerId="ADAL" clId="{FCD6E1BB-2252-40F3-BDA7-5F5B2D7A8AB6}" dt="2024-02-22T06:56:17.160" v="26" actId="1076"/>
          <ac:spMkLst>
            <pc:docMk/>
            <pc:sldMk cId="3557658823" sldId="2147380506"/>
            <ac:spMk id="11" creationId="{203A460C-86C3-81B8-6756-A212F3B6F473}"/>
          </ac:spMkLst>
        </pc:spChg>
        <pc:grpChg chg="del">
          <ac:chgData name="Padhy, Bimal" userId="8b139dcf-f3e6-4d2e-bf13-fa923e73c8bf" providerId="ADAL" clId="{FCD6E1BB-2252-40F3-BDA7-5F5B2D7A8AB6}" dt="2024-02-22T06:54:28.731" v="8" actId="478"/>
          <ac:grpSpMkLst>
            <pc:docMk/>
            <pc:sldMk cId="3557658823" sldId="2147380506"/>
            <ac:grpSpMk id="3" creationId="{5DB82E53-2F4C-DC08-7C3D-80EE3EBBDAB9}"/>
          </ac:grpSpMkLst>
        </pc:grpChg>
      </pc:sldChg>
      <pc:sldChg chg="addSp delSp modSp mod">
        <pc:chgData name="Padhy, Bimal" userId="8b139dcf-f3e6-4d2e-bf13-fa923e73c8bf" providerId="ADAL" clId="{FCD6E1BB-2252-40F3-BDA7-5F5B2D7A8AB6}" dt="2024-02-22T06:56:30.653" v="28" actId="6549"/>
        <pc:sldMkLst>
          <pc:docMk/>
          <pc:sldMk cId="1646380218" sldId="2147380507"/>
        </pc:sldMkLst>
        <pc:spChg chg="add mod">
          <ac:chgData name="Padhy, Bimal" userId="8b139dcf-f3e6-4d2e-bf13-fa923e73c8bf" providerId="ADAL" clId="{FCD6E1BB-2252-40F3-BDA7-5F5B2D7A8AB6}" dt="2024-02-22T06:56:30.653" v="28" actId="6549"/>
          <ac:spMkLst>
            <pc:docMk/>
            <pc:sldMk cId="1646380218" sldId="2147380507"/>
            <ac:spMk id="8" creationId="{CB82345B-CEC8-266D-A6BB-4F66DFB34D9F}"/>
          </ac:spMkLst>
        </pc:spChg>
        <pc:grpChg chg="del">
          <ac:chgData name="Padhy, Bimal" userId="8b139dcf-f3e6-4d2e-bf13-fa923e73c8bf" providerId="ADAL" clId="{FCD6E1BB-2252-40F3-BDA7-5F5B2D7A8AB6}" dt="2024-02-22T06:54:44.856" v="11" actId="478"/>
          <ac:grpSpMkLst>
            <pc:docMk/>
            <pc:sldMk cId="1646380218" sldId="2147380507"/>
            <ac:grpSpMk id="3" creationId="{E35CF9E0-B4AC-F3DD-852F-9D75C78E07FC}"/>
          </ac:grpSpMkLst>
        </pc:grpChg>
      </pc:sldChg>
      <pc:sldChg chg="modSp mod">
        <pc:chgData name="Padhy, Bimal" userId="8b139dcf-f3e6-4d2e-bf13-fa923e73c8bf" providerId="ADAL" clId="{FCD6E1BB-2252-40F3-BDA7-5F5B2D7A8AB6}" dt="2024-02-22T10:56:06.132" v="51" actId="20577"/>
        <pc:sldMkLst>
          <pc:docMk/>
          <pc:sldMk cId="931005402" sldId="2147380532"/>
        </pc:sldMkLst>
        <pc:spChg chg="mod">
          <ac:chgData name="Padhy, Bimal" userId="8b139dcf-f3e6-4d2e-bf13-fa923e73c8bf" providerId="ADAL" clId="{FCD6E1BB-2252-40F3-BDA7-5F5B2D7A8AB6}" dt="2024-02-22T10:56:06.132" v="51" actId="20577"/>
          <ac:spMkLst>
            <pc:docMk/>
            <pc:sldMk cId="931005402" sldId="2147380532"/>
            <ac:spMk id="11" creationId="{321FA52A-8AFC-20F9-A4B5-992B8D39FDF1}"/>
          </ac:spMkLst>
        </pc:spChg>
      </pc:sldChg>
      <pc:sldChg chg="del">
        <pc:chgData name="Padhy, Bimal" userId="8b139dcf-f3e6-4d2e-bf13-fa923e73c8bf" providerId="ADAL" clId="{FCD6E1BB-2252-40F3-BDA7-5F5B2D7A8AB6}" dt="2024-02-22T10:46:42.369" v="29" actId="47"/>
        <pc:sldMkLst>
          <pc:docMk/>
          <pc:sldMk cId="91812129" sldId="2147380534"/>
        </pc:sldMkLst>
      </pc:sldChg>
      <pc:sldChg chg="addSp modSp mod">
        <pc:chgData name="Padhy, Bimal" userId="8b139dcf-f3e6-4d2e-bf13-fa923e73c8bf" providerId="ADAL" clId="{FCD6E1BB-2252-40F3-BDA7-5F5B2D7A8AB6}" dt="2024-03-06T15:44:41.784" v="194" actId="1076"/>
        <pc:sldMkLst>
          <pc:docMk/>
          <pc:sldMk cId="2046756864" sldId="2147380536"/>
        </pc:sldMkLst>
        <pc:spChg chg="add mod">
          <ac:chgData name="Padhy, Bimal" userId="8b139dcf-f3e6-4d2e-bf13-fa923e73c8bf" providerId="ADAL" clId="{FCD6E1BB-2252-40F3-BDA7-5F5B2D7A8AB6}" dt="2024-02-22T16:21:09.613" v="181" actId="207"/>
          <ac:spMkLst>
            <pc:docMk/>
            <pc:sldMk cId="2046756864" sldId="2147380536"/>
            <ac:spMk id="3" creationId="{7BEBBB67-C93A-2F39-459D-D1B5C4A7E4CF}"/>
          </ac:spMkLst>
        </pc:spChg>
        <pc:spChg chg="mod">
          <ac:chgData name="Padhy, Bimal" userId="8b139dcf-f3e6-4d2e-bf13-fa923e73c8bf" providerId="ADAL" clId="{FCD6E1BB-2252-40F3-BDA7-5F5B2D7A8AB6}" dt="2024-02-22T16:24:23.162" v="189" actId="14100"/>
          <ac:spMkLst>
            <pc:docMk/>
            <pc:sldMk cId="2046756864" sldId="2147380536"/>
            <ac:spMk id="7" creationId="{F457C3CE-61A0-2ACE-DC07-6E81462471C6}"/>
          </ac:spMkLst>
        </pc:spChg>
        <pc:grpChg chg="mod">
          <ac:chgData name="Padhy, Bimal" userId="8b139dcf-f3e6-4d2e-bf13-fa923e73c8bf" providerId="ADAL" clId="{FCD6E1BB-2252-40F3-BDA7-5F5B2D7A8AB6}" dt="2024-03-06T15:44:41.784" v="194" actId="1076"/>
          <ac:grpSpMkLst>
            <pc:docMk/>
            <pc:sldMk cId="2046756864" sldId="2147380536"/>
            <ac:grpSpMk id="14" creationId="{7AF9955E-38DE-0802-87FD-3BE6DBF633A1}"/>
          </ac:grpSpMkLst>
        </pc:grpChg>
      </pc:sldChg>
      <pc:sldChg chg="modSp mod">
        <pc:chgData name="Padhy, Bimal" userId="8b139dcf-f3e6-4d2e-bf13-fa923e73c8bf" providerId="ADAL" clId="{FCD6E1BB-2252-40F3-BDA7-5F5B2D7A8AB6}" dt="2024-02-21T16:03:12.001" v="1" actId="1076"/>
        <pc:sldMkLst>
          <pc:docMk/>
          <pc:sldMk cId="2102810877" sldId="2147380546"/>
        </pc:sldMkLst>
        <pc:spChg chg="mod">
          <ac:chgData name="Padhy, Bimal" userId="8b139dcf-f3e6-4d2e-bf13-fa923e73c8bf" providerId="ADAL" clId="{FCD6E1BB-2252-40F3-BDA7-5F5B2D7A8AB6}" dt="2024-02-21T16:03:12.001" v="1" actId="1076"/>
          <ac:spMkLst>
            <pc:docMk/>
            <pc:sldMk cId="2102810877" sldId="2147380546"/>
            <ac:spMk id="3" creationId="{66A02819-B562-AEFE-C465-351C4BFCA390}"/>
          </ac:spMkLst>
        </pc:spChg>
      </pc:sldChg>
      <pc:sldChg chg="modSp mod">
        <pc:chgData name="Padhy, Bimal" userId="8b139dcf-f3e6-4d2e-bf13-fa923e73c8bf" providerId="ADAL" clId="{FCD6E1BB-2252-40F3-BDA7-5F5B2D7A8AB6}" dt="2024-02-21T17:34:59.009" v="2" actId="255"/>
        <pc:sldMkLst>
          <pc:docMk/>
          <pc:sldMk cId="1511177290" sldId="2147380548"/>
        </pc:sldMkLst>
        <pc:spChg chg="mod">
          <ac:chgData name="Padhy, Bimal" userId="8b139dcf-f3e6-4d2e-bf13-fa923e73c8bf" providerId="ADAL" clId="{FCD6E1BB-2252-40F3-BDA7-5F5B2D7A8AB6}" dt="2024-02-21T17:34:59.009" v="2" actId="255"/>
          <ac:spMkLst>
            <pc:docMk/>
            <pc:sldMk cId="1511177290" sldId="2147380548"/>
            <ac:spMk id="3" creationId="{9456E748-A819-9FB3-72D7-96D1AA05086A}"/>
          </ac:spMkLst>
        </pc:spChg>
      </pc:sldChg>
      <pc:sldChg chg="modSp mod">
        <pc:chgData name="Padhy, Bimal" userId="8b139dcf-f3e6-4d2e-bf13-fa923e73c8bf" providerId="ADAL" clId="{FCD6E1BB-2252-40F3-BDA7-5F5B2D7A8AB6}" dt="2024-02-23T09:07:33.866" v="191" actId="20577"/>
        <pc:sldMkLst>
          <pc:docMk/>
          <pc:sldMk cId="1720548895" sldId="2147380574"/>
        </pc:sldMkLst>
        <pc:spChg chg="mod">
          <ac:chgData name="Padhy, Bimal" userId="8b139dcf-f3e6-4d2e-bf13-fa923e73c8bf" providerId="ADAL" clId="{FCD6E1BB-2252-40F3-BDA7-5F5B2D7A8AB6}" dt="2024-02-23T09:07:33.866" v="191" actId="20577"/>
          <ac:spMkLst>
            <pc:docMk/>
            <pc:sldMk cId="1720548895" sldId="2147380574"/>
            <ac:spMk id="7" creationId="{02013000-7841-D6E3-B041-D8631947AE65}"/>
          </ac:spMkLst>
        </pc:spChg>
      </pc:sldChg>
      <pc:sldChg chg="modSp mod">
        <pc:chgData name="Padhy, Bimal" userId="8b139dcf-f3e6-4d2e-bf13-fa923e73c8bf" providerId="ADAL" clId="{FCD6E1BB-2252-40F3-BDA7-5F5B2D7A8AB6}" dt="2024-02-23T09:12:39.608" v="193" actId="20577"/>
        <pc:sldMkLst>
          <pc:docMk/>
          <pc:sldMk cId="3200378281" sldId="2147380576"/>
        </pc:sldMkLst>
        <pc:spChg chg="mod">
          <ac:chgData name="Padhy, Bimal" userId="8b139dcf-f3e6-4d2e-bf13-fa923e73c8bf" providerId="ADAL" clId="{FCD6E1BB-2252-40F3-BDA7-5F5B2D7A8AB6}" dt="2024-02-23T09:12:39.608" v="193" actId="20577"/>
          <ac:spMkLst>
            <pc:docMk/>
            <pc:sldMk cId="3200378281" sldId="2147380576"/>
            <ac:spMk id="7" creationId="{6A6BE983-73A3-8239-EB6F-20EC3681490B}"/>
          </ac:spMkLst>
        </pc:spChg>
      </pc:sldChg>
      <pc:sldChg chg="add">
        <pc:chgData name="Padhy, Bimal" userId="8b139dcf-f3e6-4d2e-bf13-fa923e73c8bf" providerId="ADAL" clId="{FCD6E1BB-2252-40F3-BDA7-5F5B2D7A8AB6}" dt="2024-02-22T16:17:57.381" v="52"/>
        <pc:sldMkLst>
          <pc:docMk/>
          <pc:sldMk cId="1088619725" sldId="214738059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02AF21-D9B1-4167-BE6C-C1608CDC8E4D}" type="datetimeFigureOut">
              <a:rPr lang="en-IN" smtClean="0"/>
              <a:t>06-03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F3D0DA-923D-4D48-A2DA-66AC28693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329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.xml"/><Relationship Id="rId7" Type="http://schemas.openxmlformats.org/officeDocument/2006/relationships/image" Target="../media/image7.png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6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5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0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7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8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3246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093CC67-959F-4025-8633-E74293F6B412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13849C-5FB3-4056-8F19-36969D0EFF73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98880B8-EC43-453F-9776-5CC8A26630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011CA7C6-436A-4D50-84CE-D20D744800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3/6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BE81AE1C-0D9E-4B80-869B-D19C9DBBA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FA0B86B2-FA89-4201-B142-9BD2A2B8BE5F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53AD205F-ED3B-4B8D-9794-3A6A5D63DA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4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A6E026-9AAF-4AE7-8963-9262839BC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1990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6E026-9AAF-4AE7-8963-9262839BC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0CB49041-215A-41B3-8DF1-B7DB856293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AA86AA5B-2138-4425-9CE2-DF5EBB0DCBB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9C9F66-5AEB-4B43-BE11-4C137ABBE69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55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7D9FFDC-B2AA-49B9-A83A-CECDDE8B8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9820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D9FFDC-B2AA-49B9-A83A-CECDDE8B8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D2E5596A-E7A3-43BF-8048-10F5C26BA4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10684DCD-A4C4-4AE2-8E0F-8FDE5E5905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A43997-8FD9-4AC8-B6B0-C4734BF9F60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912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B32F6D-1B00-42C8-A009-27F396DBE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51919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B32F6D-1B00-42C8-A009-27F396DBE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ADABBBA0-E8DB-4BB2-BCBB-59323CA39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550E85A4-C31B-499B-8265-8959F8A0FD6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823931-CC32-4D35-A746-55A832AD9C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DE6D451-A865-4572-929C-D154F38120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631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FD602F-C95D-4DDF-829E-CDD534E1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66692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D602F-C95D-4DDF-829E-CDD534E1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CFEAF1CD-EC94-4177-A98D-E3FCE4A767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0AE53871-DF2D-4237-A568-D43257D9BB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940D9B-BAF2-431E-94F8-4A2157DD931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5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30985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pyright">
            <a:extLst>
              <a:ext uri="{FF2B5EF4-FFF2-40B4-BE49-F238E27FC236}">
                <a16:creationId xmlns:a16="http://schemas.microsoft.com/office/drawing/2014/main" id="{A34DCE51-2784-4BC4-88C3-86CFBD220E8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1E6A48-3B1B-408B-81B0-486478B94AC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FDC12B22-E678-46C4-A930-2CCE047884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33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72752C-D67C-4DAE-B075-54C47F74E4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81870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72752C-D67C-4DAE-B075-54C47F74E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A5E521FF-37D5-4BE6-877A-B7AAB62CB4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5" name="Copyright">
            <a:extLst>
              <a:ext uri="{FF2B5EF4-FFF2-40B4-BE49-F238E27FC236}">
                <a16:creationId xmlns:a16="http://schemas.microsoft.com/office/drawing/2014/main" id="{E2363D49-1BC5-40B5-B55F-0FBBBB4F160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C6DBBD-8832-481C-9BA0-250A855FADA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2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2FF61B-4919-4685-A211-AC9FDC166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8935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2FF61B-4919-4685-A211-AC9FDC166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4E27A71A-3E05-41D1-B7E3-644A73644DA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19E433-29A6-4530-A049-5B6E7417267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E7B6BA1-FA4B-4BA2-8D9B-4E1F0EE038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3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94DC70-499E-49BE-87F1-B8B4F9E05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5437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4DC70-499E-49BE-87F1-B8B4F9E05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7DEB216E-E833-4DFF-B4AC-7C72E15B60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1935E0B0-BB81-424A-B1C3-87A152067DA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25CE36-F473-41E9-9758-ABAFAFAF8D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F571F5-236A-4337-A496-E4181DFBF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40468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F571F5-236A-4337-A496-E4181DFBF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75090976-9ECD-4D8F-B330-B9A275CCCB9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C13F36-A188-42B0-8493-F102601670D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C75636AF-D05D-4087-8077-0E5E16B105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42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5F71168-C41C-4186-96AB-51BD96AE4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5009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71168-C41C-4186-96AB-51BD96AE4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ADBC8D49-A008-4CB9-BAEC-9DF908B12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E06E6B6-9119-4C27-9BF6-4605E387EC9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5B0EF2-4209-4840-918E-0C1D075C10D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02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14B9406-71D0-879E-6BDC-CD708348FC4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285012-5976-4241-9035-CCD96B6DE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56164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85012-5976-4241-9035-CCD96B6DE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093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B3EA5A-94E2-4169-98CC-B06548977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07888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3EA5A-94E2-4169-98CC-B06548977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8859097-BE8F-4156-944E-DE57EC806DF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B5B35F-E405-4A21-AE09-A43A3935B06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5BC1E5E9-B7CB-4EAE-B3E4-D177BC5FE6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76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0301A0-70D1-47A5-81B2-A1BE2CFC5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11392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0301A0-70D1-47A5-81B2-A1BE2CFC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1318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0912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A755745E-4BB8-4B6B-BD44-8629802D5F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CB0128C0-4EEA-461E-B9F6-8818D8DAEB1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1841AA-C354-4A0A-BEB4-17F9679CCE6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8319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5BA21E-64BF-49D1-82DE-60811ADF4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06062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5BA21E-64BF-49D1-82DE-60811ADF4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</p:spPr>
        <p:txBody>
          <a:bodyPr vert="horz"/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3A55724B-A41A-4B68-8CA0-6DC33C3F8E7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471B74DE-6BC3-4800-8466-2ECD624AE82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C77D1-EBB1-479E-87CF-3550025539C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1660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D89007-403D-423A-AC9F-F92EC7265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203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89007-403D-423A-AC9F-F92EC7265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76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43DA4FE-F026-4A39-BF14-577F32FE4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63173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DA4FE-F026-4A39-BF14-577F32FE4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E13DDAD1-8961-4057-82BE-1E730E78EB0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27C30F-3DA6-495B-8169-662376FFD75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46E12E5-7D11-44D2-9FDE-364AD1A936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65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BC388F1-9B38-4226-8D08-B8F7117199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6167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388F1-9B38-4226-8D08-B8F711719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55124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8D192FC-778D-4835-93FB-66C90CEEFABB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5AF406-E748-4292-AC2F-FC0A8497DAE1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F958547A-9FEC-4153-A218-56618FB1E2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7EAE3651-A526-49DB-B739-C1122A597289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73025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9F6AA6-42E4-4449-A13B-B50FCD2E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67215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9F6AA6-42E4-4449-A13B-B50FCD2E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636B15-3AC7-4BFD-8073-4971086BB58C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B0D92EF-0542-47C7-A2D1-EA021ADDF86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2AA1026F-E600-4F92-8E8A-D92A5539F97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BF26676-66F6-4BD1-B84C-02244FE3EDB2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DF569B80-8CA5-4F49-85AE-325D2F3D1829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61C4A750-0AF2-4FE9-B948-335686F9F8FA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A852159F-B822-4987-85DF-C7F4764151D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22EBF8E-A6A6-4967-84BC-1C3F02A59696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78ACC6A-F495-4D53-91F4-C959CA266B08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38DE1C8-09AA-4189-9F1D-19A9B6DFA023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F9F07F57-2915-4BC9-8D7A-E8F15D438277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E410D83-E8CB-4BA6-99E7-BE9C7458E6CA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0299EF8-71A4-40D0-8BE0-0B20CD71B95E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E03FD65-4257-45B4-8C65-ABB085C6CAE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4BF86BDF-7BC5-4A22-A165-B381A438E552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003D54C3-EEB0-45A3-8487-2B8D8F3F8A5B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55B0598-C698-41B3-B5BE-A9D66F3FC647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3DE51B4E-2B16-4A20-AA67-C66CC75FA6F3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16A977A-D782-438F-BF1D-0CA9819D121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76BF523-D9E2-4745-871D-995E0D35AC69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6AFD03E-CD8B-42EF-80F4-FECB4FF95C66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343CB188-4B03-45F5-AE08-6CE19C710DC9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utter space">
              <a:extLst>
                <a:ext uri="{FF2B5EF4-FFF2-40B4-BE49-F238E27FC236}">
                  <a16:creationId xmlns:a16="http://schemas.microsoft.com/office/drawing/2014/main" id="{EF2D95A0-0C10-4F84-B951-67EC9A9876B5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125" name="Rectangle 34">
                <a:extLst>
                  <a:ext uri="{FF2B5EF4-FFF2-40B4-BE49-F238E27FC236}">
                    <a16:creationId xmlns:a16="http://schemas.microsoft.com/office/drawing/2014/main" id="{74478F7E-ABAF-4AAA-B16D-8F38953A5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" name="Rectangle 35">
                <a:extLst>
                  <a:ext uri="{FF2B5EF4-FFF2-40B4-BE49-F238E27FC236}">
                    <a16:creationId xmlns:a16="http://schemas.microsoft.com/office/drawing/2014/main" id="{8A89EDC6-5604-4CBE-AA4C-BFE43560DF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" name="Rectangle 36">
                <a:extLst>
                  <a:ext uri="{FF2B5EF4-FFF2-40B4-BE49-F238E27FC236}">
                    <a16:creationId xmlns:a16="http://schemas.microsoft.com/office/drawing/2014/main" id="{6D2AF1F0-F88B-4795-848B-F621871E7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8" name="Rectangle 37">
                <a:extLst>
                  <a:ext uri="{FF2B5EF4-FFF2-40B4-BE49-F238E27FC236}">
                    <a16:creationId xmlns:a16="http://schemas.microsoft.com/office/drawing/2014/main" id="{3F8052D3-2ECF-481E-B54B-6736C40C0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9" name="Rectangle 38">
                <a:extLst>
                  <a:ext uri="{FF2B5EF4-FFF2-40B4-BE49-F238E27FC236}">
                    <a16:creationId xmlns:a16="http://schemas.microsoft.com/office/drawing/2014/main" id="{C4CE936D-844F-4873-885F-715567A46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0" name="Rectangle 39">
                <a:extLst>
                  <a:ext uri="{FF2B5EF4-FFF2-40B4-BE49-F238E27FC236}">
                    <a16:creationId xmlns:a16="http://schemas.microsoft.com/office/drawing/2014/main" id="{2878B1E5-C24B-4D38-8F10-183032376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1" name="Rectangle 40">
                <a:extLst>
                  <a:ext uri="{FF2B5EF4-FFF2-40B4-BE49-F238E27FC236}">
                    <a16:creationId xmlns:a16="http://schemas.microsoft.com/office/drawing/2014/main" id="{F1D17D2E-9A80-4B69-96C7-A92976854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2" name="Rectangle 41">
                <a:extLst>
                  <a:ext uri="{FF2B5EF4-FFF2-40B4-BE49-F238E27FC236}">
                    <a16:creationId xmlns:a16="http://schemas.microsoft.com/office/drawing/2014/main" id="{B262DE92-FA0A-4460-9BBE-ED29892B8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3" name="Rectangle 42">
                <a:extLst>
                  <a:ext uri="{FF2B5EF4-FFF2-40B4-BE49-F238E27FC236}">
                    <a16:creationId xmlns:a16="http://schemas.microsoft.com/office/drawing/2014/main" id="{186E192D-00F8-4F12-AC1B-D78EF7AE2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8" name="Rectangle 43">
                <a:extLst>
                  <a:ext uri="{FF2B5EF4-FFF2-40B4-BE49-F238E27FC236}">
                    <a16:creationId xmlns:a16="http://schemas.microsoft.com/office/drawing/2014/main" id="{FAEB8EA2-6636-4BD0-981F-AEF4CE61F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9" name="Rectangle 44">
                <a:extLst>
                  <a:ext uri="{FF2B5EF4-FFF2-40B4-BE49-F238E27FC236}">
                    <a16:creationId xmlns:a16="http://schemas.microsoft.com/office/drawing/2014/main" id="{67D8D79C-0532-46FF-8594-EFA65F426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4" name="Slide edges">
              <a:extLst>
                <a:ext uri="{FF2B5EF4-FFF2-40B4-BE49-F238E27FC236}">
                  <a16:creationId xmlns:a16="http://schemas.microsoft.com/office/drawing/2014/main" id="{93E2C7C1-F8A1-46E0-B9E1-B70742B9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ootnote measure">
              <a:extLst>
                <a:ext uri="{FF2B5EF4-FFF2-40B4-BE49-F238E27FC236}">
                  <a16:creationId xmlns:a16="http://schemas.microsoft.com/office/drawing/2014/main" id="{691CAB54-0BD3-4BEC-87C2-8FE5F11E2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6" name="Whitespace measure">
              <a:extLst>
                <a:ext uri="{FF2B5EF4-FFF2-40B4-BE49-F238E27FC236}">
                  <a16:creationId xmlns:a16="http://schemas.microsoft.com/office/drawing/2014/main" id="{52C4C0ED-EE24-4095-925C-23657B2BF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117" name="Five column measure">
              <a:extLst>
                <a:ext uri="{FF2B5EF4-FFF2-40B4-BE49-F238E27FC236}">
                  <a16:creationId xmlns:a16="http://schemas.microsoft.com/office/drawing/2014/main" id="{AE1C1A0A-1E6B-4510-88CD-5CABA6FD7D1C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120" name="Rectangle 5">
                <a:extLst>
                  <a:ext uri="{FF2B5EF4-FFF2-40B4-BE49-F238E27FC236}">
                    <a16:creationId xmlns:a16="http://schemas.microsoft.com/office/drawing/2014/main" id="{B59DDAFB-82B0-4446-A40F-51750644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" name="Rectangle 7">
                <a:extLst>
                  <a:ext uri="{FF2B5EF4-FFF2-40B4-BE49-F238E27FC236}">
                    <a16:creationId xmlns:a16="http://schemas.microsoft.com/office/drawing/2014/main" id="{7764FAB5-E13D-48F6-B5CE-21163F89FF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" name="Rectangle 9">
                <a:extLst>
                  <a:ext uri="{FF2B5EF4-FFF2-40B4-BE49-F238E27FC236}">
                    <a16:creationId xmlns:a16="http://schemas.microsoft.com/office/drawing/2014/main" id="{E3299C03-2582-49C1-A161-6FCFACC5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" name="Rectangle 11">
                <a:extLst>
                  <a:ext uri="{FF2B5EF4-FFF2-40B4-BE49-F238E27FC236}">
                    <a16:creationId xmlns:a16="http://schemas.microsoft.com/office/drawing/2014/main" id="{E76B5887-1E00-4A06-AEBD-421E1F2A8F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" name="Rectangle 13">
                <a:extLst>
                  <a:ext uri="{FF2B5EF4-FFF2-40B4-BE49-F238E27FC236}">
                    <a16:creationId xmlns:a16="http://schemas.microsoft.com/office/drawing/2014/main" id="{60E79BC3-FB4F-4D0C-B519-0399982C7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8" name="Live area">
              <a:extLst>
                <a:ext uri="{FF2B5EF4-FFF2-40B4-BE49-F238E27FC236}">
                  <a16:creationId xmlns:a16="http://schemas.microsoft.com/office/drawing/2014/main" id="{551E057E-47F1-49C0-A8E0-32F9D5A70137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119" name="Footnote example">
              <a:extLst>
                <a:ext uri="{FF2B5EF4-FFF2-40B4-BE49-F238E27FC236}">
                  <a16:creationId xmlns:a16="http://schemas.microsoft.com/office/drawing/2014/main" id="{BFDE0E7D-0074-4949-A792-A08AAD636E17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99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90826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2C719C-D696-4502-83BD-76BEB212E9BF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CFFB197-5414-42AB-A48D-8A15AD6FCBF2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9476FA9C-7423-4A7B-8E2F-11E3F659E0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8576708B-E713-409E-B5B8-A804FA508A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3/6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79CE4D10-68D9-407E-A2C9-99EA38662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994DDA34-D8BC-4627-BADB-C520D90E3E67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E6516FC0-4DCB-4F6D-B20D-D6A43E175E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ADFBBF-617C-4E9B-BCEA-CB96AEBA3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632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DFBBF-617C-4E9B-BCEA-CB96AEBA3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200013" cy="353174"/>
          </a:xfrm>
        </p:spPr>
        <p:txBody>
          <a:bodyPr vert="horz"/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268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29B4141A-E46E-432C-A840-1B57FC08162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AC102B-3E7F-4092-83C3-3522B3111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7323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AC102B-3E7F-4092-83C3-3522B3111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249299"/>
          </a:xfr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59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639C2F-13CA-494C-94E6-BFB4593CE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1793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639C2F-13CA-494C-94E6-BFB4593CE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4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017E3C-8937-481E-B81C-39665FD49F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1880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017E3C-8937-481E-B81C-39665FD49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67DC99F-E926-4D09-B936-C5971C95D8F9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88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49"/>
            <a:ext cx="2808000" cy="664797"/>
          </a:xfrm>
        </p:spPr>
        <p:txBody>
          <a:bodyPr vert="horz" anchor="t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9B4C64-710B-405F-8D64-25BB463DD19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E7257B-A3D4-425B-9312-DE98D090761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347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3356A1-FF1D-4EB9-9324-000E84560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8280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3356A1-FF1D-4EB9-9324-000E84560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471488" y="1424082"/>
            <a:ext cx="71379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38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1BC5B3-7CF1-45E7-8571-D2693A59D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6145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1BC5B3-7CF1-45E7-8571-D2693A59D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1488" y="3680016"/>
            <a:ext cx="86699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69B7DC-1E9F-4921-9F07-7918341C5A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575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9B7DC-1E9F-4921-9F07-7918341C5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08459A17-E4B7-4580-A9E7-EE79E6FF8D9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05F59D-5F50-4BD6-8A11-63321B6D1A7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10C5C9FB-129F-488F-ADA6-F1746C65E7E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528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C16F76-FC2A-40B3-B447-FDB733785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55052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16F76-FC2A-40B3-B447-FDB733785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70739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E525093-49FA-4B42-B10C-64A30CF3493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55892B-541F-4DEC-A9C4-68C07A0DC82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2564FDA4-125D-4D50-A78A-1F297FBF29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27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A886A8-A21A-4D7D-9581-57D52773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7473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886A8-A21A-4D7D-9581-57D52773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1A876D-6EBC-4454-8FD4-A5127E3ED2D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1D0F9D-7918-440A-A7EB-2038892F3C6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D895F0B0-9196-4D31-8CE9-E194A43BF00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51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963C889-E85C-D29E-F36E-FA97815D75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6D2032-1E12-4872-953C-395990DE9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08685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6D2032-1E12-4872-953C-395990DE9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DE91006-2E60-42EB-9B37-ADD2CDA8D8D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2633160-3B74-42DD-8F03-08060631BC7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1708B0-DF9D-4C71-BCD0-47351D21627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136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FCC05E-857C-486A-909B-172052F1F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76068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CC05E-857C-486A-909B-172052F1F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C5256C72-F756-4671-B7F8-213AEB8BE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C9EA76F3-418B-44C8-A221-9B8C8294CF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D684A-3CEB-486E-967B-E230C432FFC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41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5213D7-C4A0-4E43-B75A-4B6180D1F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6062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5213D7-C4A0-4E43-B75A-4B6180D1F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2FCCF31-3442-4D34-B48D-12E0B8880D52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E7BC873C-35EE-48BD-983A-83E7F19C30A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C75DC5-CC3C-4E50-80D4-B8277C6BEF2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497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387F8E-2093-4218-8957-D4167377F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30955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87F8E-2093-4218-8957-D4167377F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B27429DE-A2C7-4BDF-A525-DB923C9C06F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84853A4C-2BF2-49DE-A95B-8FB00A19361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227EB9-5E83-4325-96A8-BA36A4E07A6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80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78980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3F5EAB28-DB5E-43E3-8CD8-498BA4B46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7881D1CD-0BD4-4F3F-8862-BE0278523BD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1B91FB-B557-457F-9C6A-61B5F48DB0A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33DEFF83-B2F2-4FE3-98DC-57FA721C7B5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96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FA1512-9FF3-4236-B941-D56E9C7D07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4513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FA1512-9FF3-4236-B941-D56E9C7D0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EA4BDE06-BB30-4AD7-B046-C74C929DBA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89C49FFD-9996-4290-8F8E-3DF9D74AFA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5F0785-2F46-4010-B5FD-A7870DA271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9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382DE1-C68A-42AB-84D6-8B1172ED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25557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382DE1-C68A-42AB-84D6-8B1172ED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270BEA33-0118-481A-8003-B6AA5FE1630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4A57A9-FD52-4E11-9615-85974FA4B8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891BD2E5-8B84-423B-B0AC-ED714962FE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210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35E707-2BC2-41CE-A90F-6950BFA257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894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5E707-2BC2-41CE-A90F-6950BFA25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959DA61E-565E-4833-955B-276B17451F0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931326E6-CB76-4716-BC80-041CE6C0CD3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F5DA6D-9F4A-4C7D-B862-EF08979CA2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94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D34CCB-2A6B-400F-8EA2-7A1B67CA9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946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D34CCB-2A6B-400F-8EA2-7A1B67CA9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329BD176-2900-485F-8F0B-BE6F193C406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D3381C-64E7-4471-8353-9E10DE13499E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C3CB9010-D3B4-4A02-A373-2047BD8C5F0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825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42C823-D584-4706-B2B1-676839517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008824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42C823-D584-4706-B2B1-676839517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F9A2A0C-D451-4852-BBA5-CC6C0906D5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E9B5CADD-B132-4D2F-9051-199090B871F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F83C66-35CA-4D26-A5D8-C8519D72385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17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83BA3F-B074-4BA5-9C53-B6FE73BA5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17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83BA3F-B074-4BA5-9C53-B6FE73BA5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5655F8F1-2D03-4597-8C28-3140C47D7583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3D023B-3120-432B-AE7E-B88C675D36F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8A923208-7851-49FB-A184-DA31AB6911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19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0B25C7-E9DE-4EEC-A9DB-D7CC4D835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0745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B25C7-E9DE-4EEC-A9DB-D7CC4D835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D95FC53A-5CE8-4F94-8024-E21CD78FE8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4F543B96-D552-4A83-85AD-B76B06C5C95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DFDA6A-BF08-48E7-975D-B9C8CC1E93FC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52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9CDF53-BF51-4C57-BA76-862A9FD56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468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CDF53-BF51-4C57-BA76-862A9FD56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BA6674AB-3D43-4CF9-BC46-ABDCDE31DD9F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26A57B-8DDF-4777-9C83-C220F0E3918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B3604B0-5300-4058-A697-E1608F36E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61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B038C6-1F61-4E85-A548-BD04BDE75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9272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038C6-1F61-4E85-A548-BD04BDE75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471488" y="1428131"/>
            <a:ext cx="71075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71B1E2E-A2E4-429B-BFCF-BE3B5870F80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9081-F039-4CD5-A839-B6F7976BEA7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3E24EA9-913A-4247-B05E-F892328BC6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BFB33B-5A10-4E34-8A62-A506B5947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7351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BFB33B-5A10-4E34-8A62-A506B5947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96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65477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39FEB5BC-ED68-4E74-BC50-95E58A7689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F09169E8-8DEE-4B9C-B378-A780016BE6C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F7E71D-1C06-44E2-BEAB-E9B0D8F081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3258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FCB526-01A6-4758-8194-45A3AB121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48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CB526-01A6-4758-8194-45A3AB121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199900" cy="2492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6F0B7ADB-CB7E-4C88-BFB4-72FEC841AA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FB780D6F-9FAE-41BF-B809-61320C3E352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1CB9EC-D92E-4359-AEAE-A47FB53CF39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5690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722A73-1681-4FF8-81B4-AFD7234FC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35636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22A73-1681-4FF8-81B4-AFD7234FC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F352B8A1-87F8-49A7-826F-28739137CE2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87C1EA-A72E-461B-9971-4E79A264C20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3027ABE8-19F4-4202-999B-B02E2E492C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01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8B1231-F74F-4BE7-9AE6-5B33DC3EA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1682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8B1231-F74F-4BE7-9AE6-5B33DC3EA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6CBAD190-C195-4D75-8DCC-7BCD4AA8623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A3BC4F-1AD2-4DCE-8D4F-435C3E44436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0CB0939-2939-4F2D-A0CC-61E1D7B33C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6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8B6117-2238-43B0-B25C-3528DEA850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37372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B6117-2238-43B0-B25C-3528DEA85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B64E423-2BDA-4DD4-B1D5-4CBF40F3C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4880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E423-2BDA-4DD4-B1D5-4CBF40F3C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74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06147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AED2B23-D52E-4891-AD50-194576C0DE63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1D7C225-4809-4651-8731-6DBA0089BE8D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317FBB5-2C3C-40E7-832D-24C4A00C08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4BB9847-FC4F-4E22-B37F-ABD0DADB2D5E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0955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675F7C-8402-4FE3-9DA9-B7E3D6D0A9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9540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675F7C-8402-4FE3-9DA9-B7E3D6D0A9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FB8F23F-3F0F-4111-A03C-C598005CBF97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038D210-2A1C-4EBC-B952-EF4519B0CD9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ACC4D06E-7DF5-41F3-9C75-F6816BBE130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0B285E0-449E-494A-A8FF-3E45D097BD39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9093EA1-7F97-476F-B1D6-451289C72DA8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F03B404-9742-478B-8333-38073773FDFE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DD0DB2E-CEF3-47E1-9224-506199D4FF07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E4A6518-02C6-4AA6-B803-AF8AAD5FC198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7A205C0-3017-4F33-B27C-A266CA18BE46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4DAF5-BE90-4DC8-B6AC-4B562271F09E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E24C659-F10E-4954-AFA7-FA4BF1100F49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8B2935D-4C73-40A1-BA90-554F0E738C51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F2BD5B5-0E7E-4AD2-8D45-2545DBBEDA93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3320037-5F1F-42E2-9D00-219211D03E5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E96BB16-39BD-4814-B4FD-32EC0154FFEE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15A640E-661E-4641-ADBE-CEEC07337D55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103E680-0CC4-493E-8D13-D6DEE69D1E48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1DA8684-521B-4906-88DD-DD65DD2FD9FF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4F0B14C-5532-437B-AE6B-F2DC5494B4C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5CDE833-C0F8-49AD-9C15-6B76B3D8D20C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58FE9B2-D6FE-4052-AB14-9F5800E63A2C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3DBAB4A5-E2AD-4B87-86AC-7F57BD9FFFB6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utter space">
              <a:extLst>
                <a:ext uri="{FF2B5EF4-FFF2-40B4-BE49-F238E27FC236}">
                  <a16:creationId xmlns:a16="http://schemas.microsoft.com/office/drawing/2014/main" id="{892038C0-E609-404B-B090-09F3545B9E2E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84" name="Rectangle 34">
                <a:extLst>
                  <a:ext uri="{FF2B5EF4-FFF2-40B4-BE49-F238E27FC236}">
                    <a16:creationId xmlns:a16="http://schemas.microsoft.com/office/drawing/2014/main" id="{C7D63959-BE42-479A-9A19-186C7FA2BE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" name="Rectangle 35">
                <a:extLst>
                  <a:ext uri="{FF2B5EF4-FFF2-40B4-BE49-F238E27FC236}">
                    <a16:creationId xmlns:a16="http://schemas.microsoft.com/office/drawing/2014/main" id="{B9DAB377-574A-434D-9B8F-B62F1F12B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" name="Rectangle 36">
                <a:extLst>
                  <a:ext uri="{FF2B5EF4-FFF2-40B4-BE49-F238E27FC236}">
                    <a16:creationId xmlns:a16="http://schemas.microsoft.com/office/drawing/2014/main" id="{A43B5FF4-D406-4E05-93D0-B6AFC0B79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" name="Rectangle 37">
                <a:extLst>
                  <a:ext uri="{FF2B5EF4-FFF2-40B4-BE49-F238E27FC236}">
                    <a16:creationId xmlns:a16="http://schemas.microsoft.com/office/drawing/2014/main" id="{49D9FA57-854F-4236-9A79-DF32870D6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" name="Rectangle 38">
                <a:extLst>
                  <a:ext uri="{FF2B5EF4-FFF2-40B4-BE49-F238E27FC236}">
                    <a16:creationId xmlns:a16="http://schemas.microsoft.com/office/drawing/2014/main" id="{D7D46901-4D4B-4145-815F-D176739F66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" name="Rectangle 39">
                <a:extLst>
                  <a:ext uri="{FF2B5EF4-FFF2-40B4-BE49-F238E27FC236}">
                    <a16:creationId xmlns:a16="http://schemas.microsoft.com/office/drawing/2014/main" id="{B3912C0F-1E88-4825-9CD4-8801D2876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" name="Rectangle 40">
                <a:extLst>
                  <a:ext uri="{FF2B5EF4-FFF2-40B4-BE49-F238E27FC236}">
                    <a16:creationId xmlns:a16="http://schemas.microsoft.com/office/drawing/2014/main" id="{06454163-A7CF-4D60-92CC-ADC6D2057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" name="Rectangle 41">
                <a:extLst>
                  <a:ext uri="{FF2B5EF4-FFF2-40B4-BE49-F238E27FC236}">
                    <a16:creationId xmlns:a16="http://schemas.microsoft.com/office/drawing/2014/main" id="{3259DCEF-EE24-4BF6-923D-ED79FAF18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" name="Rectangle 42">
                <a:extLst>
                  <a:ext uri="{FF2B5EF4-FFF2-40B4-BE49-F238E27FC236}">
                    <a16:creationId xmlns:a16="http://schemas.microsoft.com/office/drawing/2014/main" id="{48D3B193-52FA-4F4E-83DA-A1D22A15C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" name="Rectangle 43">
                <a:extLst>
                  <a:ext uri="{FF2B5EF4-FFF2-40B4-BE49-F238E27FC236}">
                    <a16:creationId xmlns:a16="http://schemas.microsoft.com/office/drawing/2014/main" id="{A8038870-54BF-4E4C-91DC-10C238497B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" name="Rectangle 44">
                <a:extLst>
                  <a:ext uri="{FF2B5EF4-FFF2-40B4-BE49-F238E27FC236}">
                    <a16:creationId xmlns:a16="http://schemas.microsoft.com/office/drawing/2014/main" id="{4AD96902-B04F-48C1-9379-C4F0BEBB9D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3" name="Slide edges">
              <a:extLst>
                <a:ext uri="{FF2B5EF4-FFF2-40B4-BE49-F238E27FC236}">
                  <a16:creationId xmlns:a16="http://schemas.microsoft.com/office/drawing/2014/main" id="{2C4B923F-34A0-4E27-84A9-D295A1328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Footnote measure">
              <a:extLst>
                <a:ext uri="{FF2B5EF4-FFF2-40B4-BE49-F238E27FC236}">
                  <a16:creationId xmlns:a16="http://schemas.microsoft.com/office/drawing/2014/main" id="{0CFA4B13-A820-4F12-80B0-5527587B4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Whitespace measure">
              <a:extLst>
                <a:ext uri="{FF2B5EF4-FFF2-40B4-BE49-F238E27FC236}">
                  <a16:creationId xmlns:a16="http://schemas.microsoft.com/office/drawing/2014/main" id="{C7B08E65-8DA9-4767-B076-6280963C6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76" name="Five column measure">
              <a:extLst>
                <a:ext uri="{FF2B5EF4-FFF2-40B4-BE49-F238E27FC236}">
                  <a16:creationId xmlns:a16="http://schemas.microsoft.com/office/drawing/2014/main" id="{8EA9FEAD-86D7-4495-8679-BF3C8B7C127E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79" name="Rectangle 5">
                <a:extLst>
                  <a:ext uri="{FF2B5EF4-FFF2-40B4-BE49-F238E27FC236}">
                    <a16:creationId xmlns:a16="http://schemas.microsoft.com/office/drawing/2014/main" id="{7230BCA7-9650-4381-B1FA-AE5AFD3872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" name="Rectangle 7">
                <a:extLst>
                  <a:ext uri="{FF2B5EF4-FFF2-40B4-BE49-F238E27FC236}">
                    <a16:creationId xmlns:a16="http://schemas.microsoft.com/office/drawing/2014/main" id="{E65E217C-F50E-4901-864C-CEBD9C1E6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" name="Rectangle 9">
                <a:extLst>
                  <a:ext uri="{FF2B5EF4-FFF2-40B4-BE49-F238E27FC236}">
                    <a16:creationId xmlns:a16="http://schemas.microsoft.com/office/drawing/2014/main" id="{F45A0167-E152-4156-9759-72E36945C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" name="Rectangle 11">
                <a:extLst>
                  <a:ext uri="{FF2B5EF4-FFF2-40B4-BE49-F238E27FC236}">
                    <a16:creationId xmlns:a16="http://schemas.microsoft.com/office/drawing/2014/main" id="{6F93B27B-B4A9-479E-AA73-6446F360F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" name="Rectangle 13">
                <a:extLst>
                  <a:ext uri="{FF2B5EF4-FFF2-40B4-BE49-F238E27FC236}">
                    <a16:creationId xmlns:a16="http://schemas.microsoft.com/office/drawing/2014/main" id="{E6F953BB-5B5E-4A13-98D4-2B62B82C82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7" name="Live area">
              <a:extLst>
                <a:ext uri="{FF2B5EF4-FFF2-40B4-BE49-F238E27FC236}">
                  <a16:creationId xmlns:a16="http://schemas.microsoft.com/office/drawing/2014/main" id="{69E9EC94-A8DA-4F27-9A0F-0276232E659B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78" name="Footnote example">
              <a:extLst>
                <a:ext uri="{FF2B5EF4-FFF2-40B4-BE49-F238E27FC236}">
                  <a16:creationId xmlns:a16="http://schemas.microsoft.com/office/drawing/2014/main" id="{E1EAB825-D6CC-43CC-8FCE-FCD72F1EC330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666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4339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198"/>
            <a:ext cx="25866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5FBBB008-C15F-4385-8AF2-26220C76E1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11AD04-71D5-4EB4-B720-07195090C70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A76BF9D1-0441-4EF3-AA22-EBF87B98FD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93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8F04BC-ED97-48AC-8DDB-98EE63ECC0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0033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F04BC-ED97-48AC-8DDB-98EE63ECC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71488" y="3680016"/>
            <a:ext cx="86749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pyright">
            <a:extLst>
              <a:ext uri="{FF2B5EF4-FFF2-40B4-BE49-F238E27FC236}">
                <a16:creationId xmlns:a16="http://schemas.microsoft.com/office/drawing/2014/main" id="{3BFF703C-2F6E-43B8-8831-948029A73FE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E381DF-0FCD-439F-8A15-6B32C4EB0E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69814CA5-6831-43E0-B74B-BC5B93C744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155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8976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3FDC979-F38A-4F7D-BAA7-C4F8B4C76C0C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EBB948-A68D-468D-8B21-C19D148E1C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850DD30-3641-4796-8A5B-8EEC03E005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37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24362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>
            <a:extLst>
              <a:ext uri="{FF2B5EF4-FFF2-40B4-BE49-F238E27FC236}">
                <a16:creationId xmlns:a16="http://schemas.microsoft.com/office/drawing/2014/main" id="{E0970931-4CD1-4C69-A4A9-1371AB960D7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BF8D4-44C0-4538-92BF-226DEAF4A5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51531E32-DBAB-48F6-89A9-165B965630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39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45689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499" y="3193865"/>
            <a:ext cx="1234440" cy="3531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CFFA9FE2-BD76-4A74-B8EC-2E9D8A30F0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4E65185A-E651-435F-8CF2-F0C6244D178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8416C-A0B6-40E3-9AD9-39F99FB20E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41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73291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7"/>
            <a:ext cx="25866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1271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8460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0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34104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08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05264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3262146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E5728CF6-189C-491E-9966-476AC1F8DC3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200573E5-B53C-4CD5-AE07-1CCB97E8C50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EFCFD1-AE3C-4C8F-B636-488D2B814E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9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6921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69D471D5-F433-407A-8F8D-98ADBBA1B7A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FC51D-9E30-459F-8B2E-14C555FC023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40EC5865-6DF7-4582-80C5-63C5CB854C3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85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ur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954546F-7B12-BC44-BC3C-9597E217B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8921" y="440986"/>
            <a:ext cx="3823238" cy="1325563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B03C80-E95F-6446-BA3A-3B9DD0B808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08921" y="1766551"/>
            <a:ext cx="3823238" cy="3821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9D180B-F656-FCC5-C160-9CA376A5C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r="37163"/>
          <a:stretch/>
        </p:blipFill>
        <p:spPr>
          <a:xfrm>
            <a:off x="0" y="251326"/>
            <a:ext cx="4640580" cy="657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01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531B03-5991-4204-BB1E-CC0C0CA1F3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441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31B03-5991-4204-BB1E-CC0C0CA1F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AB197D13-6F4B-42B0-B993-9E96140DA94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1B5FAB-A5FE-494F-A130-E66B908223B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999973C6-E560-49B2-A043-73D01E580C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789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337CB5-24FB-487D-A96E-12533329D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4601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337CB5-24FB-487D-A96E-12533329D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029E0473-D80F-4456-A93F-EA85F4E38BC6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20EAFE-E6CD-4F91-B634-F2FE99DE0DB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5039122F-8B7E-4E40-8445-C59039A203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979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D6A898-3CB7-4391-AAB0-B6608464F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27233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D6A898-3CB7-4391-AAB0-B6608464F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435BDFD7-4481-4D60-AE3D-4603DB178D3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602685F5-9555-495E-BFCC-3DB7BDBEE8E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4FB22A-7FE6-4747-980B-2AB32CAAD3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481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67270626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199900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2081214"/>
            <a:ext cx="8199900" cy="3946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4763A8-1A34-4D6D-B77C-B87C88850B7F}"/>
              </a:ext>
            </a:extLst>
          </p:cNvPr>
          <p:cNvSpPr/>
          <p:nvPr userDrawn="1"/>
        </p:nvSpPr>
        <p:spPr>
          <a:xfrm>
            <a:off x="0" y="1"/>
            <a:ext cx="9144000" cy="247805"/>
          </a:xfrm>
          <a:prstGeom prst="rect">
            <a:avLst/>
          </a:prstGeom>
          <a:solidFill>
            <a:srgbClr val="38C6F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255341-AAC2-44F3-9E1E-2F4ADFFB57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901BFE-239D-44BC-BC22-DF5B7043F4D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3128625E-DB89-4386-8661-E0AFEA2568CF}"/>
              </a:ext>
            </a:extLst>
          </p:cNvPr>
          <p:cNvPicPr>
            <a:picLocks noChangeAspect="1"/>
          </p:cNvPicPr>
          <p:nvPr userDrawn="1"/>
        </p:nvPicPr>
        <p:blipFill>
          <a:blip r:embed="rId73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8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00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•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63474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–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rgbClr val="38C6F3"/>
        </a:buClr>
        <a:buFont typeface="Arial" panose="020B0604020202020204" pitchFamily="34" charset="0"/>
        <a:buChar char="•"/>
        <a:defRPr lang="en-US" sz="12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33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Clr>
          <a:srgbClr val="38C6F3"/>
        </a:buClr>
        <a:buFont typeface="Arial" panose="020B0604020202020204" pitchFamily="34" charset="0"/>
        <a:buChar char="​"/>
        <a:defRPr lang="en-US" sz="4050" b="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1800" b="1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5.xml"/><Relationship Id="rId6" Type="http://schemas.openxmlformats.org/officeDocument/2006/relationships/image" Target="../media/image58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6.xml"/><Relationship Id="rId6" Type="http://schemas.openxmlformats.org/officeDocument/2006/relationships/image" Target="../media/image5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oleObject" Target="../embeddings/oleObject70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7.xml"/><Relationship Id="rId6" Type="http://schemas.openxmlformats.org/officeDocument/2006/relationships/image" Target="../media/image6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8.xml"/><Relationship Id="rId6" Type="http://schemas.openxmlformats.org/officeDocument/2006/relationships/image" Target="../media/image64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4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5.xml"/><Relationship Id="rId6" Type="http://schemas.openxmlformats.org/officeDocument/2006/relationships/image" Target="../media/image18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6.xml"/><Relationship Id="rId6" Type="http://schemas.openxmlformats.org/officeDocument/2006/relationships/image" Target="../media/image1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8.xml"/><Relationship Id="rId6" Type="http://schemas.openxmlformats.org/officeDocument/2006/relationships/image" Target="../media/image20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1.xml"/><Relationship Id="rId6" Type="http://schemas.openxmlformats.org/officeDocument/2006/relationships/image" Target="../media/image2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6" Type="http://schemas.openxmlformats.org/officeDocument/2006/relationships/image" Target="../media/image23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5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9.xml"/><Relationship Id="rId6" Type="http://schemas.openxmlformats.org/officeDocument/2006/relationships/image" Target="../media/image25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0.xml"/><Relationship Id="rId6" Type="http://schemas.openxmlformats.org/officeDocument/2006/relationships/image" Target="../media/image2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5.xml"/><Relationship Id="rId6" Type="http://schemas.openxmlformats.org/officeDocument/2006/relationships/image" Target="../media/image2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8.xml"/><Relationship Id="rId6" Type="http://schemas.openxmlformats.org/officeDocument/2006/relationships/image" Target="../media/image28.jp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9.xml"/><Relationship Id="rId6" Type="http://schemas.openxmlformats.org/officeDocument/2006/relationships/image" Target="../media/image2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4.xml"/><Relationship Id="rId6" Type="http://schemas.openxmlformats.org/officeDocument/2006/relationships/image" Target="../media/image3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5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7.xml"/><Relationship Id="rId6" Type="http://schemas.openxmlformats.org/officeDocument/2006/relationships/image" Target="../media/image33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8.xml"/><Relationship Id="rId6" Type="http://schemas.openxmlformats.org/officeDocument/2006/relationships/image" Target="../media/image34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9.xml"/><Relationship Id="rId6" Type="http://schemas.openxmlformats.org/officeDocument/2006/relationships/image" Target="../media/image35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0.xml"/><Relationship Id="rId6" Type="http://schemas.openxmlformats.org/officeDocument/2006/relationships/image" Target="../media/image3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.xml"/><Relationship Id="rId6" Type="http://schemas.openxmlformats.org/officeDocument/2006/relationships/image" Target="../media/image37.jp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.xml"/><Relationship Id="rId6" Type="http://schemas.openxmlformats.org/officeDocument/2006/relationships/image" Target="../media/image38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6.xml"/><Relationship Id="rId6" Type="http://schemas.openxmlformats.org/officeDocument/2006/relationships/image" Target="../media/image3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7.xml"/><Relationship Id="rId6" Type="http://schemas.openxmlformats.org/officeDocument/2006/relationships/image" Target="../media/image40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9.xml"/><Relationship Id="rId6" Type="http://schemas.openxmlformats.org/officeDocument/2006/relationships/image" Target="../media/image4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0.xml"/><Relationship Id="rId6" Type="http://schemas.openxmlformats.org/officeDocument/2006/relationships/image" Target="../media/image43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2.xml"/><Relationship Id="rId6" Type="http://schemas.openxmlformats.org/officeDocument/2006/relationships/image" Target="../media/image44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3.xml"/><Relationship Id="rId6" Type="http://schemas.openxmlformats.org/officeDocument/2006/relationships/image" Target="../media/image4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5.xml"/><Relationship Id="rId6" Type="http://schemas.openxmlformats.org/officeDocument/2006/relationships/image" Target="../media/image4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6.xml"/><Relationship Id="rId6" Type="http://schemas.openxmlformats.org/officeDocument/2006/relationships/image" Target="../media/image4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7.xml"/><Relationship Id="rId6" Type="http://schemas.openxmlformats.org/officeDocument/2006/relationships/image" Target="../media/image5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8.xml"/><Relationship Id="rId6" Type="http://schemas.openxmlformats.org/officeDocument/2006/relationships/image" Target="../media/image53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9.xml"/><Relationship Id="rId6" Type="http://schemas.openxmlformats.org/officeDocument/2006/relationships/image" Target="../media/image54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2.xml"/><Relationship Id="rId6" Type="http://schemas.openxmlformats.org/officeDocument/2006/relationships/image" Target="../media/image55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3.xml"/><Relationship Id="rId6" Type="http://schemas.openxmlformats.org/officeDocument/2006/relationships/image" Target="../media/image5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7A6A4-8330-3FA4-D20A-426D3A3BF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BD22E0B-C3BB-AEA1-E07E-59CA92DC8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D22E0B-C3BB-AEA1-E07E-59CA92DC8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6EBBBDA-1488-270C-9D76-0D92587A04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AF9955E-38DE-0802-87FD-3BE6DBF633A1}"/>
              </a:ext>
            </a:extLst>
          </p:cNvPr>
          <p:cNvGrpSpPr/>
          <p:nvPr/>
        </p:nvGrpSpPr>
        <p:grpSpPr>
          <a:xfrm>
            <a:off x="5259429" y="655011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0166D23-D9E4-1BFE-F7AD-4DEBA2381A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9BB8973-2F90-5C04-7149-FB8080627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E856AAD-0244-9CDF-B7B0-5F7ABF278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D183292-62C4-38AE-9F7D-E790CA7B6B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D445A34-8E06-8644-1F5E-2909CBA9AB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ACDB4C0-0934-F039-05D6-F65A66D32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457C3CE-61A0-2ACE-DC07-6E81462471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156188"/>
            <a:ext cx="7429500" cy="4608855"/>
          </a:xfrm>
        </p:spPr>
        <p:txBody>
          <a:bodyPr/>
          <a:lstStyle/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4400" dirty="0"/>
              <a:t>Agenda</a:t>
            </a:r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3600" dirty="0">
              <a:solidFill>
                <a:schemeClr val="tx1"/>
              </a:solidFill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600" dirty="0">
                <a:solidFill>
                  <a:schemeClr val="tx1"/>
                </a:solidFill>
                <a:cs typeface="Arial"/>
              </a:rPr>
              <a:t>Interfaces</a:t>
            </a:r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600" dirty="0">
                <a:solidFill>
                  <a:schemeClr val="tx1"/>
                </a:solidFill>
                <a:cs typeface="Arial"/>
              </a:rPr>
              <a:t>Exception Handling</a:t>
            </a:r>
            <a:br>
              <a:rPr lang="en-US" sz="3600" dirty="0">
                <a:solidFill>
                  <a:schemeClr val="tx1"/>
                </a:solidFill>
                <a:cs typeface="Arial"/>
              </a:rPr>
            </a:br>
            <a:r>
              <a:rPr lang="en-US" sz="3600" dirty="0" err="1">
                <a:solidFill>
                  <a:schemeClr val="tx1"/>
                </a:solidFill>
                <a:cs typeface="Arial"/>
              </a:rPr>
              <a:t>Java.lang</a:t>
            </a:r>
            <a:r>
              <a:rPr lang="en-US" sz="3600" dirty="0">
                <a:solidFill>
                  <a:schemeClr val="tx1"/>
                </a:solidFill>
                <a:cs typeface="Arial"/>
              </a:rPr>
              <a:t> package</a:t>
            </a:r>
            <a:br>
              <a:rPr lang="en-US" sz="3600" dirty="0">
                <a:solidFill>
                  <a:schemeClr val="tx1"/>
                </a:solidFill>
                <a:cs typeface="Arial"/>
              </a:rPr>
            </a:br>
            <a:r>
              <a:rPr lang="en-US" sz="3600" dirty="0" err="1">
                <a:solidFill>
                  <a:schemeClr val="tx1"/>
                </a:solidFill>
                <a:cs typeface="Arial"/>
              </a:rPr>
              <a:t>Java.util</a:t>
            </a:r>
            <a:r>
              <a:rPr lang="en-US" sz="3600" dirty="0">
                <a:solidFill>
                  <a:schemeClr val="tx1"/>
                </a:solidFill>
                <a:cs typeface="Arial"/>
              </a:rPr>
              <a:t> packa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EBBB67-C93A-2F39-459D-D1B5C4A7E4CF}"/>
              </a:ext>
            </a:extLst>
          </p:cNvPr>
          <p:cNvSpPr txBox="1"/>
          <p:nvPr/>
        </p:nvSpPr>
        <p:spPr>
          <a:xfrm>
            <a:off x="2866109" y="4659511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rgbClr val="000000"/>
                </a:solidFill>
              </a:rPr>
              <a:t>By</a:t>
            </a:r>
            <a:br>
              <a:rPr lang="en-US" sz="2000" b="1" dirty="0">
                <a:solidFill>
                  <a:srgbClr val="000000"/>
                </a:solidFill>
              </a:rPr>
            </a:br>
            <a:r>
              <a:rPr lang="en-US" sz="2000" b="1" dirty="0">
                <a:solidFill>
                  <a:srgbClr val="000000"/>
                </a:solidFill>
              </a:rPr>
              <a:t>Bimal Padhy</a:t>
            </a:r>
          </a:p>
          <a:p>
            <a:pPr algn="ctr"/>
            <a:r>
              <a:rPr lang="en-US" sz="2000" b="1" u="sng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ithub</a:t>
            </a:r>
            <a:r>
              <a:rPr lang="en-US" sz="2000" b="1" u="sng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000" b="1" u="sng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Url</a:t>
            </a:r>
            <a:endParaRPr lang="en-US" sz="2000" b="1" u="sng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2000" b="1" u="sng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ttps://github.com/bimalpadhy-ctl/Java_Intern_2024</a:t>
            </a:r>
          </a:p>
        </p:txBody>
      </p:sp>
    </p:spTree>
    <p:extLst>
      <p:ext uri="{BB962C8B-B14F-4D97-AF65-F5344CB8AC3E}">
        <p14:creationId xmlns:p14="http://schemas.microsoft.com/office/powerpoint/2010/main" val="204675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3D0ED-88CE-CA04-B22D-557B820D3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6DE1F8F-38CF-7F14-B0D5-8EF19FBB2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DE1F8F-38CF-7F14-B0D5-8EF19FBB2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96F9A52-4E9B-1236-CCDD-5BD2995F23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D0B86DA-240F-E412-750D-71FB2DAA138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5E94338-307E-DF54-6FA1-3F7D5B13C8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222DCFE-02A6-0040-54C8-441E339106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50ED5C10-C9FB-BDD9-1FC3-92D5F2B001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6A779C6-F089-CEFB-E08A-C01BB2B19D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432D9A0-7587-D34D-9B70-B40CE6FF216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2509EED-AC6B-E958-F53F-ECFCEBA00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48ED029-1BF7-A86D-C4ED-296D281C1C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b="1" dirty="0"/>
              <a:t>Extending Interface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interface</a:t>
            </a:r>
            <a:r>
              <a:rPr lang="en-US" sz="2800" b="1" dirty="0"/>
              <a:t> </a:t>
            </a:r>
            <a:r>
              <a:rPr lang="en-US" sz="2800" dirty="0"/>
              <a:t>Calculator 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void calculate(int x, int y){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interface Scientific extends Calculator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{ void square(int x){ } }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 class </a:t>
            </a:r>
            <a:r>
              <a:rPr lang="en-US" sz="2800" dirty="0" err="1"/>
              <a:t>AdvCalc</a:t>
            </a:r>
            <a:r>
              <a:rPr lang="en-US" sz="2800" dirty="0"/>
              <a:t> implements Scientific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void calculate(int x, int y){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void square(int x, int y){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}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217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0820F-1C07-0C3F-EB6D-78B5A254C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DFAD446-278F-9E30-0D85-89109DE50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FAD446-278F-9E30-0D85-89109DE50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0EADE8B-CAEC-5A99-FB75-24F823854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2F7EE-86C6-5974-C8C9-901A7D2153B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E19B6CF-5D68-108D-E21B-AF16C4A921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B3EB8F6-CE52-3BC5-A889-29AB03353B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DCF3840-0EAA-6E2C-E45D-98CD45565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8D9FEEC-1E0F-5C2B-83C3-7BB74E8E23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6C1F096-ADDA-5E63-5BB4-F35E64602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6895860-94FF-9E7A-31B4-88259AEAE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609398"/>
          </a:xfrm>
        </p:spPr>
        <p:txBody>
          <a:bodyPr/>
          <a:lstStyle/>
          <a:p>
            <a:r>
              <a:rPr lang="en-US" sz="4400" spc="-10" dirty="0"/>
              <a:t>Comparator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D76523-B83D-7052-C929-BC4B90570F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 err="1">
                <a:latin typeface="Arial"/>
                <a:cs typeface="Arial"/>
              </a:rPr>
              <a:t>java.util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ar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se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ertai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ttributes/fields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e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ltipl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rt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quence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needed.</a:t>
            </a:r>
            <a:endParaRPr lang="en-US" sz="1600" dirty="0">
              <a:latin typeface="Arial"/>
              <a:cs typeface="Arial"/>
            </a:endParaRPr>
          </a:p>
          <a:p>
            <a:pPr marL="355600" marR="168275" indent="-343535">
              <a:lnSpc>
                <a:spcPct val="100000"/>
              </a:lnSpc>
              <a:spcBef>
                <a:spcPts val="480"/>
              </a:spcBef>
            </a:pPr>
            <a:r>
              <a:rPr lang="en-US" sz="1600" b="1" i="1" dirty="0" err="1">
                <a:latin typeface="Arial"/>
                <a:cs typeface="Arial"/>
              </a:rPr>
              <a:t>eg.</a:t>
            </a:r>
            <a:r>
              <a:rPr lang="en-US" sz="1600" b="1" i="1" spc="-3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One</a:t>
            </a:r>
            <a:r>
              <a:rPr lang="en-US" sz="1600" b="1" i="1" spc="-1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user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might</a:t>
            </a:r>
            <a:r>
              <a:rPr lang="en-US" sz="1600" b="1" i="1" spc="-1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want</a:t>
            </a:r>
            <a:r>
              <a:rPr lang="en-US" sz="1600" b="1" i="1" spc="-3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to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sort</a:t>
            </a:r>
            <a:r>
              <a:rPr lang="en-US" sz="1600" b="1" i="1" spc="-1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vehicles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y</a:t>
            </a:r>
            <a:r>
              <a:rPr lang="en-US" sz="1600" b="1" i="1" spc="-1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price,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one user</a:t>
            </a:r>
            <a:r>
              <a:rPr lang="en-US" sz="1600" b="1" i="1" spc="-25" dirty="0">
                <a:latin typeface="Arial"/>
                <a:cs typeface="Arial"/>
              </a:rPr>
              <a:t> by </a:t>
            </a:r>
            <a:r>
              <a:rPr lang="en-US" sz="1600" b="1" i="1" dirty="0">
                <a:latin typeface="Arial"/>
                <a:cs typeface="Arial"/>
              </a:rPr>
              <a:t>name,</a:t>
            </a:r>
            <a:r>
              <a:rPr lang="en-US" sz="1600" b="1" i="1" spc="-3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one</a:t>
            </a:r>
            <a:r>
              <a:rPr lang="en-US" sz="1600" b="1" i="1" spc="-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y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rand</a:t>
            </a:r>
            <a:r>
              <a:rPr lang="en-US" sz="1600" b="1" i="1" spc="-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–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not</a:t>
            </a:r>
            <a:r>
              <a:rPr lang="en-US" sz="1600" b="1" i="1" spc="-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possible</a:t>
            </a:r>
            <a:r>
              <a:rPr lang="en-US" sz="1600" b="1" i="1" spc="-3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y</a:t>
            </a:r>
            <a:r>
              <a:rPr lang="en-US" sz="1600" b="1" i="1" spc="-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Comparable</a:t>
            </a:r>
            <a:r>
              <a:rPr lang="en-US" sz="1600" b="1" i="1" spc="-3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as it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allows </a:t>
            </a:r>
            <a:r>
              <a:rPr lang="en-US" sz="1600" b="1" i="1" dirty="0">
                <a:latin typeface="Arial"/>
                <a:cs typeface="Arial"/>
              </a:rPr>
              <a:t>only</a:t>
            </a:r>
            <a:r>
              <a:rPr lang="en-US" sz="1600" b="1" i="1" spc="-1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one</a:t>
            </a:r>
            <a:r>
              <a:rPr lang="en-US" sz="1600" b="1" i="1" spc="-30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sorting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reat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parat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e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ifferen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r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equence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600" b="1" spc="-10" dirty="0">
                <a:latin typeface="Arial"/>
                <a:cs typeface="Arial"/>
              </a:rPr>
              <a:t>Rul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reat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parat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mparator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mplemen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compare(Object</a:t>
            </a:r>
            <a:r>
              <a:rPr lang="en-US" sz="1600" i="1" spc="-50" dirty="0">
                <a:latin typeface="Arial"/>
                <a:cs typeface="Arial"/>
              </a:rPr>
              <a:t> </a:t>
            </a:r>
            <a:r>
              <a:rPr lang="en-US" sz="1600" i="1" dirty="0" err="1">
                <a:latin typeface="Arial"/>
                <a:cs typeface="Arial"/>
              </a:rPr>
              <a:t>o,Object</a:t>
            </a:r>
            <a:r>
              <a:rPr lang="en-US" sz="1600" i="1" spc="-40" dirty="0">
                <a:latin typeface="Arial"/>
                <a:cs typeface="Arial"/>
              </a:rPr>
              <a:t> </a:t>
            </a:r>
            <a:r>
              <a:rPr lang="en-US" sz="1600" i="1" spc="-20" dirty="0">
                <a:latin typeface="Arial"/>
                <a:cs typeface="Arial"/>
              </a:rPr>
              <a:t>o1)</a:t>
            </a:r>
            <a:r>
              <a:rPr lang="en-US" sz="1600" spc="-20" dirty="0">
                <a:latin typeface="Arial"/>
                <a:cs typeface="Arial"/>
              </a:rPr>
              <a:t>.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ll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b="1" dirty="0" err="1">
                <a:latin typeface="Arial"/>
                <a:cs typeface="Arial"/>
              </a:rPr>
              <a:t>Collections.sort</a:t>
            </a:r>
            <a:r>
              <a:rPr lang="en-US" sz="1600" b="1" dirty="0">
                <a:latin typeface="Arial"/>
                <a:cs typeface="Arial"/>
              </a:rPr>
              <a:t>(</a:t>
            </a:r>
            <a:r>
              <a:rPr lang="en-US" sz="1600" b="1" spc="-6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Lis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obj,</a:t>
            </a:r>
            <a:r>
              <a:rPr lang="en-US" sz="1600" b="1" spc="-1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comparator</a:t>
            </a:r>
            <a:r>
              <a:rPr lang="en-US" sz="1600" b="1" spc="-6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obj)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r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 </a:t>
            </a:r>
            <a:r>
              <a:rPr lang="en-US" sz="1600" spc="-10" dirty="0">
                <a:latin typeface="Arial"/>
                <a:cs typeface="Arial"/>
              </a:rPr>
              <a:t>collection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28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E2127-A63D-8CEC-2134-7AE87E034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E7251C-7120-874B-7461-462DE7D8B9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E7251C-7120-874B-7461-462DE7D8B9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0A04F373-3A87-6B46-888C-94D97B8BE2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11A7289-02C9-3272-9F7F-6B6602FB3A6D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6C00812-DC0B-B3EF-0407-6BBDF67903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7F23F02-6268-955A-2B3C-30E9FAC868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AF1F566-236F-C84D-0C64-BA5071C2D7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9080F4-ECBF-0F79-0C42-13410A51F1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679B0B0-295B-A2ED-8A7C-8A0AC89BF0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C244B5D-0689-C3FA-2CA2-A1BFA07D7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35" dirty="0"/>
              <a:t> </a:t>
            </a:r>
            <a:r>
              <a:rPr lang="en-US" sz="3200" dirty="0"/>
              <a:t>-</a:t>
            </a:r>
            <a:r>
              <a:rPr lang="en-US" sz="3200" spc="-20" dirty="0"/>
              <a:t> </a:t>
            </a:r>
            <a:r>
              <a:rPr lang="en-US" sz="3200" dirty="0"/>
              <a:t>implementing</a:t>
            </a:r>
            <a:r>
              <a:rPr lang="en-US" sz="3200" spc="-50" dirty="0"/>
              <a:t> </a:t>
            </a:r>
            <a:r>
              <a:rPr lang="en-US" sz="3200" spc="-10" dirty="0"/>
              <a:t>Comparator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DCBA2613-43D7-03BC-B7AB-7FA934228A63}"/>
              </a:ext>
            </a:extLst>
          </p:cNvPr>
          <p:cNvGrpSpPr/>
          <p:nvPr/>
        </p:nvGrpSpPr>
        <p:grpSpPr>
          <a:xfrm>
            <a:off x="746759" y="1763267"/>
            <a:ext cx="5161915" cy="3607435"/>
            <a:chOff x="746759" y="1763267"/>
            <a:chExt cx="5161915" cy="360743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CE825DB3-ECB5-A7A9-C829-BC9FBABBE24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5903" y="1772411"/>
              <a:ext cx="5143500" cy="358902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1B4F66B5-B636-BEE4-8E12-0D5D2E176DF8}"/>
                </a:ext>
              </a:extLst>
            </p:cNvPr>
            <p:cNvSpPr/>
            <p:nvPr/>
          </p:nvSpPr>
          <p:spPr>
            <a:xfrm>
              <a:off x="751331" y="1767839"/>
              <a:ext cx="5153025" cy="3598545"/>
            </a:xfrm>
            <a:custGeom>
              <a:avLst/>
              <a:gdLst/>
              <a:ahLst/>
              <a:cxnLst/>
              <a:rect l="l" t="t" r="r" b="b"/>
              <a:pathLst>
                <a:path w="5153025" h="3598545">
                  <a:moveTo>
                    <a:pt x="0" y="3598164"/>
                  </a:moveTo>
                  <a:lnTo>
                    <a:pt x="5152644" y="3598164"/>
                  </a:lnTo>
                  <a:lnTo>
                    <a:pt x="5152644" y="0"/>
                  </a:lnTo>
                  <a:lnTo>
                    <a:pt x="0" y="0"/>
                  </a:lnTo>
                  <a:lnTo>
                    <a:pt x="0" y="359816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5886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567A41-316F-55B0-0A1C-DF9704C61F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B66655C-A684-0E91-BD7D-1209D31E71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66655C-A684-0E91-BD7D-1209D31E7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74A25A0-DA66-BCAA-0D8A-620FF1FAA2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73063A-35EB-F8C6-F7FE-2C0A5CF0C29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BC89FDC-2B23-A6D4-3DBB-E899529752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81F81D2-EBFC-4958-DA57-AE0A939667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AD66D23-DFDB-1A32-E637-1C7B176928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CEBED45-C7B3-466A-E6C2-82CBDD0ED3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39077CA-9AFB-FEC9-75D1-5F69FCBEB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E3793E2-CB13-72A6-AAEA-63B4D8F8B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50" dirty="0"/>
              <a:t> </a:t>
            </a:r>
            <a:r>
              <a:rPr lang="en-US" sz="3200" dirty="0"/>
              <a:t>-</a:t>
            </a:r>
            <a:r>
              <a:rPr lang="en-US" sz="3200" spc="-35" dirty="0"/>
              <a:t> </a:t>
            </a:r>
            <a:r>
              <a:rPr lang="en-US" sz="3200" dirty="0"/>
              <a:t>using</a:t>
            </a:r>
            <a:r>
              <a:rPr lang="en-US" sz="3200" spc="-45" dirty="0"/>
              <a:t> </a:t>
            </a:r>
            <a:r>
              <a:rPr lang="en-US" sz="3200" dirty="0"/>
              <a:t>sort()</a:t>
            </a:r>
            <a:r>
              <a:rPr lang="en-US" sz="3200" spc="-35" dirty="0"/>
              <a:t> </a:t>
            </a:r>
            <a:r>
              <a:rPr lang="en-US" sz="3200" spc="-10" dirty="0"/>
              <a:t>method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51D1CB62-16CC-B000-4750-206D9D7FEB43}"/>
              </a:ext>
            </a:extLst>
          </p:cNvPr>
          <p:cNvGrpSpPr/>
          <p:nvPr/>
        </p:nvGrpSpPr>
        <p:grpSpPr>
          <a:xfrm>
            <a:off x="242315" y="1620011"/>
            <a:ext cx="4244340" cy="3907790"/>
            <a:chOff x="242315" y="1620011"/>
            <a:chExt cx="4244340" cy="390779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B00D5CC9-2DF7-5EC7-20B9-E2028B281D0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51459" y="1629155"/>
              <a:ext cx="4226052" cy="3889248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8D0801CF-2A48-8543-6E1E-FC2A03866719}"/>
                </a:ext>
              </a:extLst>
            </p:cNvPr>
            <p:cNvSpPr/>
            <p:nvPr/>
          </p:nvSpPr>
          <p:spPr>
            <a:xfrm>
              <a:off x="246887" y="1624583"/>
              <a:ext cx="4235450" cy="3898900"/>
            </a:xfrm>
            <a:custGeom>
              <a:avLst/>
              <a:gdLst/>
              <a:ahLst/>
              <a:cxnLst/>
              <a:rect l="l" t="t" r="r" b="b"/>
              <a:pathLst>
                <a:path w="4235450" h="3898900">
                  <a:moveTo>
                    <a:pt x="0" y="3898391"/>
                  </a:moveTo>
                  <a:lnTo>
                    <a:pt x="4235196" y="3898391"/>
                  </a:lnTo>
                  <a:lnTo>
                    <a:pt x="4235196" y="0"/>
                  </a:lnTo>
                  <a:lnTo>
                    <a:pt x="0" y="0"/>
                  </a:lnTo>
                  <a:lnTo>
                    <a:pt x="0" y="3898391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8AB594D9-EC7E-0512-7555-E551EC22521D}"/>
              </a:ext>
            </a:extLst>
          </p:cNvPr>
          <p:cNvGrpSpPr/>
          <p:nvPr/>
        </p:nvGrpSpPr>
        <p:grpSpPr>
          <a:xfrm>
            <a:off x="4850891" y="2627376"/>
            <a:ext cx="4086225" cy="2604770"/>
            <a:chOff x="4850891" y="2627376"/>
            <a:chExt cx="4086225" cy="2604770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7B190D23-17DF-CB2A-5318-B750833FB38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860035" y="2636520"/>
              <a:ext cx="4067556" cy="2586228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4E9480A1-9537-5362-EFE4-8005DC7CABDE}"/>
                </a:ext>
              </a:extLst>
            </p:cNvPr>
            <p:cNvSpPr/>
            <p:nvPr/>
          </p:nvSpPr>
          <p:spPr>
            <a:xfrm>
              <a:off x="4855463" y="2631948"/>
              <a:ext cx="4076700" cy="2595880"/>
            </a:xfrm>
            <a:custGeom>
              <a:avLst/>
              <a:gdLst/>
              <a:ahLst/>
              <a:cxnLst/>
              <a:rect l="l" t="t" r="r" b="b"/>
              <a:pathLst>
                <a:path w="4076700" h="2595879">
                  <a:moveTo>
                    <a:pt x="0" y="2595372"/>
                  </a:moveTo>
                  <a:lnTo>
                    <a:pt x="4076699" y="2595372"/>
                  </a:lnTo>
                  <a:lnTo>
                    <a:pt x="4076699" y="0"/>
                  </a:lnTo>
                  <a:lnTo>
                    <a:pt x="0" y="0"/>
                  </a:lnTo>
                  <a:lnTo>
                    <a:pt x="0" y="259537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8664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ABFCE-76B3-08D8-604E-C45862B50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672C1A8-3B17-7CF5-8E0F-F3EAE8160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72C1A8-3B17-7CF5-8E0F-F3EAE8160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9CF3396D-4F5F-7A8F-7055-4BEE543B5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FB18182-A680-629E-9FF8-E5885B10DDBA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875543C-27C0-ACB7-8FF0-661DEF05C1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F675E6D-792B-1522-C6FB-A2DD3B5DBC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811D5C4-63DF-6252-8EE1-090CD6EB6A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6EE18A7-223E-14FE-021C-0DC178DA41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4E32EB6-6465-4C95-358F-F61C984355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ED0AC71A-918D-AB93-918F-6EA884103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Using</a:t>
            </a:r>
            <a:r>
              <a:rPr lang="en-US" sz="3200" spc="-40" dirty="0"/>
              <a:t> </a:t>
            </a:r>
            <a:r>
              <a:rPr lang="en-US" sz="3200" dirty="0"/>
              <a:t>Method</a:t>
            </a:r>
            <a:r>
              <a:rPr lang="en-US" sz="3200" spc="-25" dirty="0"/>
              <a:t> </a:t>
            </a:r>
            <a:r>
              <a:rPr lang="en-US" sz="3200" dirty="0"/>
              <a:t>references</a:t>
            </a:r>
            <a:r>
              <a:rPr lang="en-US" sz="3200" spc="-35" dirty="0"/>
              <a:t> </a:t>
            </a:r>
            <a:r>
              <a:rPr lang="en-US" sz="3200" dirty="0"/>
              <a:t>-</a:t>
            </a:r>
            <a:r>
              <a:rPr lang="en-US" sz="3200" spc="-20" dirty="0"/>
              <a:t> </a:t>
            </a:r>
            <a:r>
              <a:rPr lang="en-US" sz="3200" spc="-10" dirty="0"/>
              <a:t>static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2EAA74FF-0203-6C44-C8C9-031242A3C244}"/>
              </a:ext>
            </a:extLst>
          </p:cNvPr>
          <p:cNvGrpSpPr/>
          <p:nvPr/>
        </p:nvGrpSpPr>
        <p:grpSpPr>
          <a:xfrm>
            <a:off x="746759" y="1836420"/>
            <a:ext cx="7248525" cy="1504315"/>
            <a:chOff x="746759" y="1836420"/>
            <a:chExt cx="7248525" cy="150431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792BE093-F106-B9EF-9551-C2C8552BA2E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5903" y="1845564"/>
              <a:ext cx="7229856" cy="14859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F70E8A91-DDC6-33AE-E689-6A510311790E}"/>
                </a:ext>
              </a:extLst>
            </p:cNvPr>
            <p:cNvSpPr/>
            <p:nvPr/>
          </p:nvSpPr>
          <p:spPr>
            <a:xfrm>
              <a:off x="751331" y="1840992"/>
              <a:ext cx="7239000" cy="1495425"/>
            </a:xfrm>
            <a:custGeom>
              <a:avLst/>
              <a:gdLst/>
              <a:ahLst/>
              <a:cxnLst/>
              <a:rect l="l" t="t" r="r" b="b"/>
              <a:pathLst>
                <a:path w="7239000" h="1495425">
                  <a:moveTo>
                    <a:pt x="0" y="1495043"/>
                  </a:moveTo>
                  <a:lnTo>
                    <a:pt x="7239000" y="1495043"/>
                  </a:lnTo>
                  <a:lnTo>
                    <a:pt x="7239000" y="0"/>
                  </a:lnTo>
                  <a:lnTo>
                    <a:pt x="0" y="0"/>
                  </a:lnTo>
                  <a:lnTo>
                    <a:pt x="0" y="149504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DAFC8163-24D6-5AB2-8EDE-B42DBAE305CF}"/>
              </a:ext>
            </a:extLst>
          </p:cNvPr>
          <p:cNvGrpSpPr/>
          <p:nvPr/>
        </p:nvGrpSpPr>
        <p:grpSpPr>
          <a:xfrm>
            <a:off x="745236" y="3558540"/>
            <a:ext cx="7147559" cy="571500"/>
            <a:chOff x="745236" y="3558540"/>
            <a:chExt cx="7147559" cy="571500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FD86F0CF-D405-3C0E-A1E0-223AAE4C8D82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54380" y="3567684"/>
              <a:ext cx="7129272" cy="553212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9D5BD625-FC87-7ED1-BD9F-59FDABBF6E10}"/>
                </a:ext>
              </a:extLst>
            </p:cNvPr>
            <p:cNvSpPr/>
            <p:nvPr/>
          </p:nvSpPr>
          <p:spPr>
            <a:xfrm>
              <a:off x="749808" y="3563112"/>
              <a:ext cx="7138670" cy="562610"/>
            </a:xfrm>
            <a:custGeom>
              <a:avLst/>
              <a:gdLst/>
              <a:ahLst/>
              <a:cxnLst/>
              <a:rect l="l" t="t" r="r" b="b"/>
              <a:pathLst>
                <a:path w="7138670" h="562610">
                  <a:moveTo>
                    <a:pt x="0" y="562356"/>
                  </a:moveTo>
                  <a:lnTo>
                    <a:pt x="7138416" y="562356"/>
                  </a:lnTo>
                  <a:lnTo>
                    <a:pt x="7138416" y="0"/>
                  </a:lnTo>
                  <a:lnTo>
                    <a:pt x="0" y="0"/>
                  </a:lnTo>
                  <a:lnTo>
                    <a:pt x="0" y="56235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9">
            <a:extLst>
              <a:ext uri="{FF2B5EF4-FFF2-40B4-BE49-F238E27FC236}">
                <a16:creationId xmlns:a16="http://schemas.microsoft.com/office/drawing/2014/main" id="{77EAF7E6-AA9C-2EF3-063C-3644C05EF7B0}"/>
              </a:ext>
            </a:extLst>
          </p:cNvPr>
          <p:cNvGrpSpPr/>
          <p:nvPr/>
        </p:nvGrpSpPr>
        <p:grpSpPr>
          <a:xfrm>
            <a:off x="733044" y="4475988"/>
            <a:ext cx="6885940" cy="771525"/>
            <a:chOff x="733044" y="4475988"/>
            <a:chExt cx="6885940" cy="771525"/>
          </a:xfrm>
        </p:grpSpPr>
        <p:pic>
          <p:nvPicPr>
            <p:cNvPr id="13" name="object 10">
              <a:extLst>
                <a:ext uri="{FF2B5EF4-FFF2-40B4-BE49-F238E27FC236}">
                  <a16:creationId xmlns:a16="http://schemas.microsoft.com/office/drawing/2014/main" id="{356A3627-A497-E050-5C96-8D63B8FEAD1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42188" y="4485132"/>
              <a:ext cx="6867144" cy="752856"/>
            </a:xfrm>
            <a:prstGeom prst="rect">
              <a:avLst/>
            </a:prstGeom>
          </p:spPr>
        </p:pic>
        <p:sp>
          <p:nvSpPr>
            <p:cNvPr id="20" name="object 11">
              <a:extLst>
                <a:ext uri="{FF2B5EF4-FFF2-40B4-BE49-F238E27FC236}">
                  <a16:creationId xmlns:a16="http://schemas.microsoft.com/office/drawing/2014/main" id="{ACE48F21-E113-E1F4-DA68-B1983424EF03}"/>
                </a:ext>
              </a:extLst>
            </p:cNvPr>
            <p:cNvSpPr/>
            <p:nvPr/>
          </p:nvSpPr>
          <p:spPr>
            <a:xfrm>
              <a:off x="737616" y="4480560"/>
              <a:ext cx="6876415" cy="762000"/>
            </a:xfrm>
            <a:custGeom>
              <a:avLst/>
              <a:gdLst/>
              <a:ahLst/>
              <a:cxnLst/>
              <a:rect l="l" t="t" r="r" b="b"/>
              <a:pathLst>
                <a:path w="6876415" h="762000">
                  <a:moveTo>
                    <a:pt x="0" y="761999"/>
                  </a:moveTo>
                  <a:lnTo>
                    <a:pt x="6876288" y="761999"/>
                  </a:lnTo>
                  <a:lnTo>
                    <a:pt x="6876288" y="0"/>
                  </a:lnTo>
                  <a:lnTo>
                    <a:pt x="0" y="0"/>
                  </a:lnTo>
                  <a:lnTo>
                    <a:pt x="0" y="761999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2393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07223-4C57-957E-CE31-2D803F9F9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412D02E-FFD0-94A6-7704-80813AC6FD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12D02E-FFD0-94A6-7704-80813AC6F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EBDD8BB4-D72A-61DD-BD43-C2EBA55BFD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2CA4278-FA97-C401-755B-43D1987C3B7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61C489B-5E2C-ABA2-8AE7-900CBAF315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43554A0-7532-9A14-0486-F9954F2F8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866E785-4C51-BAB8-C0C1-0203DFEC8A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39E3BC-1194-8E46-CE4F-DA4803FD2E6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81549A8-3B55-B9A0-1FF6-ABF4BDE1B3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574BCC0-3F91-6D7E-FA7F-97E6AB8AA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Using</a:t>
            </a:r>
            <a:r>
              <a:rPr lang="en-US" sz="3200" spc="-40" dirty="0"/>
              <a:t> </a:t>
            </a:r>
            <a:r>
              <a:rPr lang="en-US" sz="3200" dirty="0"/>
              <a:t>Method</a:t>
            </a:r>
            <a:r>
              <a:rPr lang="en-US" sz="3200" spc="-25" dirty="0"/>
              <a:t> </a:t>
            </a:r>
            <a:r>
              <a:rPr lang="en-US" sz="3200" dirty="0"/>
              <a:t>references</a:t>
            </a:r>
            <a:r>
              <a:rPr lang="en-US" sz="3200" spc="-35" dirty="0"/>
              <a:t> </a:t>
            </a:r>
            <a:r>
              <a:rPr lang="en-US" sz="3200" dirty="0"/>
              <a:t>-</a:t>
            </a:r>
            <a:r>
              <a:rPr lang="en-US" sz="3200" spc="-20" dirty="0"/>
              <a:t> </a:t>
            </a:r>
            <a:r>
              <a:rPr lang="en-US" sz="3200" spc="-10" dirty="0"/>
              <a:t>instance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245E1592-6098-D37A-68D3-4C25B71EFA5F}"/>
              </a:ext>
            </a:extLst>
          </p:cNvPr>
          <p:cNvGrpSpPr/>
          <p:nvPr/>
        </p:nvGrpSpPr>
        <p:grpSpPr>
          <a:xfrm>
            <a:off x="675131" y="1668779"/>
            <a:ext cx="6551930" cy="2057400"/>
            <a:chOff x="675131" y="1668779"/>
            <a:chExt cx="6551930" cy="205740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4A3AD1D4-1A54-5667-C26B-5C1C35CEC4F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4275" y="1677923"/>
              <a:ext cx="6533388" cy="2039112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E47D57D0-01E7-D636-7C84-F86A50339E64}"/>
                </a:ext>
              </a:extLst>
            </p:cNvPr>
            <p:cNvSpPr/>
            <p:nvPr/>
          </p:nvSpPr>
          <p:spPr>
            <a:xfrm>
              <a:off x="679703" y="1673351"/>
              <a:ext cx="6543040" cy="2048510"/>
            </a:xfrm>
            <a:custGeom>
              <a:avLst/>
              <a:gdLst/>
              <a:ahLst/>
              <a:cxnLst/>
              <a:rect l="l" t="t" r="r" b="b"/>
              <a:pathLst>
                <a:path w="6543040" h="2048510">
                  <a:moveTo>
                    <a:pt x="0" y="2048256"/>
                  </a:moveTo>
                  <a:lnTo>
                    <a:pt x="6542532" y="2048256"/>
                  </a:lnTo>
                  <a:lnTo>
                    <a:pt x="6542532" y="0"/>
                  </a:lnTo>
                  <a:lnTo>
                    <a:pt x="0" y="0"/>
                  </a:lnTo>
                  <a:lnTo>
                    <a:pt x="0" y="2048256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959C7017-E58E-B934-1B74-ED6E96D3019E}"/>
              </a:ext>
            </a:extLst>
          </p:cNvPr>
          <p:cNvGrpSpPr/>
          <p:nvPr/>
        </p:nvGrpSpPr>
        <p:grpSpPr>
          <a:xfrm>
            <a:off x="675131" y="3995928"/>
            <a:ext cx="7237730" cy="836930"/>
            <a:chOff x="675131" y="3995928"/>
            <a:chExt cx="7237730" cy="836930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80E0EAE0-521E-8CD6-ED2C-7FDA721CB9F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84275" y="4005072"/>
              <a:ext cx="7219188" cy="818388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7622EFCC-81AC-DEF6-A1E1-275A5121D888}"/>
                </a:ext>
              </a:extLst>
            </p:cNvPr>
            <p:cNvSpPr/>
            <p:nvPr/>
          </p:nvSpPr>
          <p:spPr>
            <a:xfrm>
              <a:off x="679703" y="4000500"/>
              <a:ext cx="7228840" cy="828040"/>
            </a:xfrm>
            <a:custGeom>
              <a:avLst/>
              <a:gdLst/>
              <a:ahLst/>
              <a:cxnLst/>
              <a:rect l="l" t="t" r="r" b="b"/>
              <a:pathLst>
                <a:path w="7228840" h="828039">
                  <a:moveTo>
                    <a:pt x="0" y="827532"/>
                  </a:moveTo>
                  <a:lnTo>
                    <a:pt x="7228332" y="827532"/>
                  </a:lnTo>
                  <a:lnTo>
                    <a:pt x="7228332" y="0"/>
                  </a:lnTo>
                  <a:lnTo>
                    <a:pt x="0" y="0"/>
                  </a:lnTo>
                  <a:lnTo>
                    <a:pt x="0" y="82753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0336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DC66D7-4337-4679-D2F9-85FF7B123C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B3D05A3-9AA6-7238-F803-67B986206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D05A3-9AA6-7238-F803-67B986206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6E0BC4B-E91E-1AC2-820B-52A57835E0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3054CB-3E42-6D49-6A5B-53822FB1DA4A}"/>
              </a:ext>
            </a:extLst>
          </p:cNvPr>
          <p:cNvSpPr txBox="1"/>
          <p:nvPr/>
        </p:nvSpPr>
        <p:spPr>
          <a:xfrm>
            <a:off x="381000" y="1944844"/>
            <a:ext cx="576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/>
              <a:t>Thanks</a:t>
            </a:r>
            <a:endParaRPr lang="en-IN" sz="1100" b="1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D8B372-4D60-2E2B-8067-557A2025721C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248CF8-2B22-9F1A-5809-0AB9FFF23E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67F2A6C-BC34-1383-27FC-2138DFDCC6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957DC85-5C98-D8D1-D0FC-9F7506230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933FC33-FFFC-1EAB-77BA-D09B9F21EC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BBBA058-81BD-356B-FD78-B5FED158A1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1345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9D6E8A-CE37-F647-CB2F-72A5F72940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39298"/>
            <a:ext cx="8201025" cy="488815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b="1" dirty="0">
                <a:ea typeface="+mn-lt"/>
                <a:cs typeface="+mn-lt"/>
              </a:rPr>
              <a:t>Default Methods </a:t>
            </a:r>
            <a:endParaRPr lang="en-US" sz="2000" dirty="0">
              <a:ea typeface="+mn-lt"/>
              <a:cs typeface="+mn-lt"/>
            </a:endParaRPr>
          </a:p>
          <a:p>
            <a:r>
              <a:rPr lang="en-US" sz="2000" dirty="0">
                <a:ea typeface="+mn-lt"/>
                <a:cs typeface="+mn-lt"/>
              </a:rPr>
              <a:t>• helps to add new functionality to the existing interfaces of the application</a:t>
            </a:r>
          </a:p>
          <a:p>
            <a:r>
              <a:rPr lang="en-US" sz="2000" dirty="0">
                <a:ea typeface="+mn-lt"/>
                <a:cs typeface="+mn-lt"/>
              </a:rPr>
              <a:t> • Adding a default method to an existing interface does not break the contract</a:t>
            </a:r>
          </a:p>
          <a:p>
            <a:r>
              <a:rPr lang="en-US" sz="2000" dirty="0">
                <a:ea typeface="+mn-lt"/>
                <a:cs typeface="+mn-lt"/>
              </a:rPr>
              <a:t> • default methods are implicitly public </a:t>
            </a:r>
          </a:p>
          <a:p>
            <a:r>
              <a:rPr lang="en-US" sz="2000" dirty="0">
                <a:ea typeface="+mn-lt"/>
                <a:cs typeface="+mn-lt"/>
              </a:rPr>
              <a:t>• Helps to add a common behavior across all implementing classes of the interface </a:t>
            </a:r>
          </a:p>
          <a:p>
            <a:r>
              <a:rPr lang="en-US" sz="2000" dirty="0">
                <a:ea typeface="+mn-lt"/>
                <a:cs typeface="+mn-lt"/>
              </a:rPr>
              <a:t>public interface </a:t>
            </a:r>
            <a:r>
              <a:rPr lang="en-US" sz="2000" dirty="0" err="1">
                <a:ea typeface="+mn-lt"/>
                <a:cs typeface="+mn-lt"/>
              </a:rPr>
              <a:t>MyInterface</a:t>
            </a:r>
          </a:p>
          <a:p>
            <a:r>
              <a:rPr lang="en-US" sz="2000" dirty="0">
                <a:ea typeface="+mn-lt"/>
                <a:cs typeface="+mn-lt"/>
              </a:rPr>
              <a:t> { // regular interface methods </a:t>
            </a:r>
          </a:p>
          <a:p>
            <a:r>
              <a:rPr lang="en-US" sz="2000" dirty="0">
                <a:ea typeface="+mn-lt"/>
                <a:cs typeface="+mn-lt"/>
              </a:rPr>
              <a:t>public void caller();</a:t>
            </a:r>
          </a:p>
          <a:p>
            <a:r>
              <a:rPr lang="en-US" sz="2000" dirty="0">
                <a:ea typeface="+mn-lt"/>
                <a:cs typeface="+mn-lt"/>
              </a:rPr>
              <a:t>default void </a:t>
            </a:r>
            <a:r>
              <a:rPr lang="en-US" sz="2000" dirty="0" err="1">
                <a:ea typeface="+mn-lt"/>
                <a:cs typeface="+mn-lt"/>
              </a:rPr>
              <a:t>defaultMethod</a:t>
            </a:r>
            <a:r>
              <a:rPr lang="en-US" sz="2000" dirty="0">
                <a:ea typeface="+mn-lt"/>
                <a:cs typeface="+mn-lt"/>
              </a:rPr>
              <a:t>()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{ </a:t>
            </a:r>
            <a:endParaRPr lang="en-US" dirty="0">
              <a:ea typeface="+mn-lt"/>
              <a:cs typeface="+mn-lt"/>
            </a:endParaRPr>
          </a:p>
          <a:p>
            <a:r>
              <a:rPr lang="en-US" sz="2000" dirty="0">
                <a:ea typeface="+mn-lt"/>
                <a:cs typeface="+mn-lt"/>
              </a:rPr>
              <a:t>// default method implementation </a:t>
            </a:r>
            <a:endParaRPr lang="en-US" dirty="0">
              <a:ea typeface="+mn-lt"/>
              <a:cs typeface="+mn-lt"/>
            </a:endParaRPr>
          </a:p>
          <a:p>
            <a:r>
              <a:rPr lang="en-US" sz="2000" dirty="0">
                <a:ea typeface="+mn-lt"/>
                <a:cs typeface="+mn-lt"/>
              </a:rPr>
              <a:t>} </a:t>
            </a:r>
            <a:endParaRPr lang="en-US" dirty="0">
              <a:ea typeface="+mn-lt"/>
              <a:cs typeface="+mn-lt"/>
            </a:endParaRPr>
          </a:p>
          <a:p>
            <a:r>
              <a:rPr lang="en-US" sz="2000" dirty="0">
                <a:ea typeface="+mn-lt"/>
                <a:cs typeface="+mn-lt"/>
              </a:rPr>
              <a:t>}</a:t>
            </a:r>
            <a:endParaRPr lang="en-US" dirty="0">
              <a:cs typeface="Arial"/>
            </a:endParaRPr>
          </a:p>
          <a:p>
            <a:endParaRPr lang="en-US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144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A02819-B562-AEFE-C465-351C4BFCA3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599548"/>
            <a:ext cx="8201025" cy="542790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ublic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interface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Vehicle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 {  </a:t>
            </a:r>
          </a:p>
          <a:p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getBrand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(); </a:t>
            </a:r>
          </a:p>
          <a:p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speedUp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();</a:t>
            </a:r>
          </a:p>
          <a:p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 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slowDown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();</a:t>
            </a:r>
          </a:p>
          <a:p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default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 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turnAlarmOn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()</a:t>
            </a:r>
          </a:p>
          <a:p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 { 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return</a:t>
            </a:r>
            <a:r>
              <a:rPr lang="en-US" sz="1800" dirty="0">
                <a:solidFill>
                  <a:schemeClr val="tx1"/>
                </a:solidFill>
                <a:ea typeface="+mn-lt"/>
                <a:cs typeface="+mn-lt"/>
              </a:rPr>
              <a:t> "Turning the vehicle alarm on."; }</a:t>
            </a:r>
          </a:p>
          <a:p>
            <a:r>
              <a:rPr lang="en-US" sz="1800" dirty="0">
                <a:solidFill>
                  <a:schemeClr val="tx1"/>
                </a:solidFill>
                <a:cs typeface="Arial"/>
              </a:rPr>
              <a:t>}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ublic class Car implements Vehicle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 { 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rivate String brand; // constructors/getters 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@Override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ublic 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getBrand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()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{ return brand; }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@Override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ublic 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speedUp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()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{ return "The car is speeding up."; }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 @Override </a:t>
            </a:r>
          </a:p>
          <a:p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public String 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slowDown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() { return "The car is slowing down."; } }</a:t>
            </a:r>
          </a:p>
        </p:txBody>
      </p:sp>
    </p:spTree>
    <p:extLst>
      <p:ext uri="{BB962C8B-B14F-4D97-AF65-F5344CB8AC3E}">
        <p14:creationId xmlns:p14="http://schemas.microsoft.com/office/powerpoint/2010/main" val="210281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B8C663-2262-40B0-733C-E0772C590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409048"/>
            <a:ext cx="8201025" cy="561840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b="1" dirty="0">
                <a:solidFill>
                  <a:srgbClr val="63B175"/>
                </a:solidFill>
                <a:ea typeface="+mn-lt"/>
                <a:cs typeface="+mn-lt"/>
              </a:rPr>
              <a:t>public</a:t>
            </a:r>
            <a:r>
              <a:rPr lang="en-US" sz="2000" dirty="0">
                <a:ea typeface="+mn-lt"/>
                <a:cs typeface="+mn-lt"/>
              </a:rPr>
              <a:t> </a:t>
            </a:r>
            <a:r>
              <a:rPr lang="en-US" sz="2000" b="1" dirty="0">
                <a:solidFill>
                  <a:srgbClr val="63B175"/>
                </a:solidFill>
                <a:ea typeface="+mn-lt"/>
                <a:cs typeface="+mn-lt"/>
              </a:rPr>
              <a:t>static</a:t>
            </a:r>
            <a:r>
              <a:rPr lang="en-US" sz="2000" dirty="0">
                <a:ea typeface="+mn-lt"/>
                <a:cs typeface="+mn-lt"/>
              </a:rPr>
              <a:t> </a:t>
            </a:r>
            <a:r>
              <a:rPr lang="en-US" sz="2000" b="1" dirty="0">
                <a:solidFill>
                  <a:srgbClr val="63B175"/>
                </a:solidFill>
                <a:ea typeface="+mn-lt"/>
                <a:cs typeface="+mn-lt"/>
              </a:rPr>
              <a:t>void</a:t>
            </a:r>
            <a:r>
              <a:rPr lang="en-US" sz="2000" dirty="0">
                <a:ea typeface="+mn-lt"/>
                <a:cs typeface="+mn-lt"/>
              </a:rPr>
              <a:t> </a:t>
            </a:r>
            <a:r>
              <a:rPr lang="en-US" sz="2000" b="1" dirty="0">
                <a:solidFill>
                  <a:srgbClr val="267438"/>
                </a:solidFill>
                <a:ea typeface="+mn-lt"/>
                <a:cs typeface="+mn-lt"/>
              </a:rPr>
              <a:t>main</a:t>
            </a:r>
            <a:r>
              <a:rPr lang="en-US" sz="2000" dirty="0">
                <a:ea typeface="+mn-lt"/>
                <a:cs typeface="+mn-lt"/>
              </a:rPr>
              <a:t>(String[] </a:t>
            </a:r>
            <a:r>
              <a:rPr lang="en-US" sz="2000" dirty="0" err="1">
                <a:ea typeface="+mn-lt"/>
                <a:cs typeface="+mn-lt"/>
              </a:rPr>
              <a:t>args</a:t>
            </a:r>
            <a:r>
              <a:rPr lang="en-US" sz="2000" dirty="0">
                <a:ea typeface="+mn-lt"/>
                <a:cs typeface="+mn-lt"/>
              </a:rPr>
              <a:t>) { </a:t>
            </a:r>
          </a:p>
          <a:p>
            <a:endParaRPr lang="en-US" sz="2000" dirty="0">
              <a:cs typeface="Arial"/>
            </a:endParaRPr>
          </a:p>
          <a:p>
            <a:r>
              <a:rPr lang="en-US" sz="2000" dirty="0">
                <a:ea typeface="+mn-lt"/>
                <a:cs typeface="+mn-lt"/>
              </a:rPr>
              <a:t>Vehicle car = new Car("BMW");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   </a:t>
            </a:r>
            <a:r>
              <a:rPr lang="en-US" sz="2000" dirty="0" err="1">
                <a:ea typeface="+mn-lt"/>
                <a:cs typeface="+mn-lt"/>
              </a:rPr>
              <a:t>System.out.println</a:t>
            </a:r>
            <a:r>
              <a:rPr lang="en-US" sz="2000" dirty="0">
                <a:ea typeface="+mn-lt"/>
                <a:cs typeface="+mn-lt"/>
              </a:rPr>
              <a:t>(</a:t>
            </a:r>
            <a:r>
              <a:rPr lang="en-US" sz="2000" dirty="0" err="1">
                <a:ea typeface="+mn-lt"/>
                <a:cs typeface="+mn-lt"/>
              </a:rPr>
              <a:t>car.getBrand</a:t>
            </a:r>
            <a:r>
              <a:rPr lang="en-US" sz="2000" dirty="0">
                <a:ea typeface="+mn-lt"/>
                <a:cs typeface="+mn-lt"/>
              </a:rPr>
              <a:t>());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   </a:t>
            </a:r>
            <a:r>
              <a:rPr lang="en-US" sz="2000" dirty="0" err="1">
                <a:ea typeface="+mn-lt"/>
                <a:cs typeface="+mn-lt"/>
              </a:rPr>
              <a:t>System.out.println</a:t>
            </a:r>
            <a:r>
              <a:rPr lang="en-US" sz="2000" dirty="0">
                <a:ea typeface="+mn-lt"/>
                <a:cs typeface="+mn-lt"/>
              </a:rPr>
              <a:t>(</a:t>
            </a:r>
            <a:r>
              <a:rPr lang="en-US" sz="2000" dirty="0" err="1">
                <a:ea typeface="+mn-lt"/>
                <a:cs typeface="+mn-lt"/>
              </a:rPr>
              <a:t>car.speedUp</a:t>
            </a:r>
            <a:r>
              <a:rPr lang="en-US" sz="2000" dirty="0">
                <a:ea typeface="+mn-lt"/>
                <a:cs typeface="+mn-lt"/>
              </a:rPr>
              <a:t>());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   </a:t>
            </a:r>
            <a:r>
              <a:rPr lang="en-US" sz="2000" dirty="0" err="1">
                <a:ea typeface="+mn-lt"/>
                <a:cs typeface="+mn-lt"/>
              </a:rPr>
              <a:t>System.out.println</a:t>
            </a:r>
            <a:r>
              <a:rPr lang="en-US" sz="2000" dirty="0">
                <a:ea typeface="+mn-lt"/>
                <a:cs typeface="+mn-lt"/>
              </a:rPr>
              <a:t>(</a:t>
            </a:r>
            <a:r>
              <a:rPr lang="en-US" sz="2000" dirty="0" err="1">
                <a:ea typeface="+mn-lt"/>
                <a:cs typeface="+mn-lt"/>
              </a:rPr>
              <a:t>car.slowDown</a:t>
            </a:r>
            <a:r>
              <a:rPr lang="en-US" sz="2000" dirty="0">
                <a:ea typeface="+mn-lt"/>
                <a:cs typeface="+mn-lt"/>
              </a:rPr>
              <a:t>());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   </a:t>
            </a:r>
            <a:r>
              <a:rPr lang="en-US" sz="2000" dirty="0" err="1">
                <a:ea typeface="+mn-lt"/>
                <a:cs typeface="+mn-lt"/>
              </a:rPr>
              <a:t>System.out.println</a:t>
            </a:r>
            <a:r>
              <a:rPr lang="en-US" sz="2000" dirty="0">
                <a:ea typeface="+mn-lt"/>
                <a:cs typeface="+mn-lt"/>
              </a:rPr>
              <a:t>(</a:t>
            </a:r>
            <a:r>
              <a:rPr lang="en-US" sz="2000" dirty="0" err="1">
                <a:ea typeface="+mn-lt"/>
                <a:cs typeface="+mn-lt"/>
              </a:rPr>
              <a:t>car.turnAlarmOn</a:t>
            </a:r>
            <a:r>
              <a:rPr lang="en-US" sz="2000" dirty="0">
                <a:ea typeface="+mn-lt"/>
                <a:cs typeface="+mn-lt"/>
              </a:rPr>
              <a:t>());</a:t>
            </a:r>
            <a:endParaRPr lang="en-US" dirty="0"/>
          </a:p>
          <a:p>
            <a:r>
              <a:rPr lang="en-US" sz="2000" dirty="0">
                <a:ea typeface="+mn-lt"/>
                <a:cs typeface="+mn-lt"/>
              </a:rPr>
              <a:t>    </a:t>
            </a:r>
            <a:r>
              <a:rPr lang="en-US" sz="2000" dirty="0" err="1">
                <a:ea typeface="+mn-lt"/>
                <a:cs typeface="+mn-lt"/>
              </a:rPr>
              <a:t>System.out.println</a:t>
            </a:r>
            <a:r>
              <a:rPr lang="en-US" sz="2000" dirty="0">
                <a:ea typeface="+mn-lt"/>
                <a:cs typeface="+mn-lt"/>
              </a:rPr>
              <a:t>(</a:t>
            </a:r>
            <a:r>
              <a:rPr lang="en-US" sz="2000" dirty="0" err="1">
                <a:ea typeface="+mn-lt"/>
                <a:cs typeface="+mn-lt"/>
              </a:rPr>
              <a:t>car.turnAlarmOff</a:t>
            </a:r>
            <a:r>
              <a:rPr lang="en-US" sz="2000" dirty="0">
                <a:ea typeface="+mn-lt"/>
                <a:cs typeface="+mn-lt"/>
              </a:rPr>
              <a:t>());</a:t>
            </a:r>
            <a:endParaRPr lang="en-US" dirty="0">
              <a:ea typeface="+mn-lt"/>
              <a:cs typeface="+mn-lt"/>
            </a:endParaRPr>
          </a:p>
          <a:p>
            <a:endParaRPr lang="en-US" sz="2000" dirty="0">
              <a:cs typeface="Arial"/>
            </a:endParaRPr>
          </a:p>
          <a:p>
            <a:r>
              <a:rPr lang="en-US" dirty="0">
                <a:cs typeface="Arial"/>
              </a:rPr>
              <a:t>}</a:t>
            </a:r>
            <a:endParaRPr lang="en-US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11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56E748-A819-9FB3-72D7-96D1AA050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409048"/>
            <a:ext cx="8201025" cy="561840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b="1" dirty="0">
                <a:ea typeface="+mn-lt"/>
                <a:cs typeface="+mn-lt"/>
              </a:rPr>
              <a:t>Static Interface Methods</a:t>
            </a:r>
          </a:p>
          <a:p>
            <a:endParaRPr lang="en-US" sz="2000" b="1" dirty="0">
              <a:ea typeface="+mn-lt"/>
              <a:cs typeface="+mn-lt"/>
            </a:endParaRPr>
          </a:p>
          <a:p>
            <a:r>
              <a:rPr lang="en-US" sz="1600" b="1" dirty="0">
                <a:solidFill>
                  <a:srgbClr val="273239"/>
                </a:solidFill>
                <a:ea typeface="+mn-lt"/>
                <a:cs typeface="+mn-lt"/>
              </a:rPr>
              <a:t>Static Methods </a:t>
            </a:r>
            <a:r>
              <a:rPr lang="en-US" sz="1600" dirty="0">
                <a:solidFill>
                  <a:srgbClr val="273239"/>
                </a:solidFill>
                <a:ea typeface="+mn-lt"/>
                <a:cs typeface="+mn-lt"/>
              </a:rPr>
              <a:t>are defined in the interface with the keyword static.</a:t>
            </a:r>
          </a:p>
          <a:p>
            <a:r>
              <a:rPr lang="en-US" sz="1600" dirty="0">
                <a:solidFill>
                  <a:srgbClr val="273239"/>
                </a:solidFill>
                <a:ea typeface="+mn-lt"/>
                <a:cs typeface="+mn-lt"/>
              </a:rPr>
              <a:t> These static methods contain the complete definition of the function.</a:t>
            </a:r>
          </a:p>
          <a:p>
            <a:r>
              <a:rPr lang="en-US" sz="1600" dirty="0">
                <a:solidFill>
                  <a:srgbClr val="273239"/>
                </a:solidFill>
                <a:ea typeface="+mn-lt"/>
                <a:cs typeface="+mn-lt"/>
              </a:rPr>
              <a:t>These methods cannot be overridden or changed in the implementation class</a:t>
            </a:r>
          </a:p>
          <a:p>
            <a:endParaRPr lang="en-US" sz="1300" dirty="0">
              <a:solidFill>
                <a:srgbClr val="273239"/>
              </a:solidFill>
              <a:ea typeface="+mn-lt"/>
              <a:cs typeface="+mn-lt"/>
            </a:endParaRPr>
          </a:p>
          <a:p>
            <a:r>
              <a:rPr lang="en-US" sz="2000" b="1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interface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Arial"/>
                <a:ea typeface="+mn-lt"/>
                <a:cs typeface="+mn-lt"/>
              </a:rPr>
              <a:t>NewInterface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{</a:t>
            </a:r>
          </a:p>
          <a:p>
            <a:endParaRPr lang="en-US" sz="2000" dirty="0">
              <a:solidFill>
                <a:schemeClr val="tx1"/>
              </a:solidFill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// static method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</a:t>
            </a:r>
            <a:r>
              <a:rPr lang="en-US" sz="2000" b="1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static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</a:t>
            </a:r>
            <a:r>
              <a:rPr lang="en-US" sz="2000" b="1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void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hello()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{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    </a:t>
            </a:r>
            <a:r>
              <a:rPr lang="en-US" sz="2000" dirty="0" err="1">
                <a:solidFill>
                  <a:schemeClr val="tx1"/>
                </a:solidFill>
                <a:latin typeface="Arial"/>
                <a:ea typeface="+mn-lt"/>
                <a:cs typeface="+mn-lt"/>
              </a:rPr>
              <a:t>System.out.println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("Hello, New Static Method Here");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}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en-US" sz="2000" dirty="0">
              <a:solidFill>
                <a:schemeClr val="tx1"/>
              </a:solidFill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// Public and abstract method of Interface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    </a:t>
            </a:r>
            <a:r>
              <a:rPr lang="en-US" sz="2000" b="1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void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Arial"/>
                <a:ea typeface="+mn-lt"/>
                <a:cs typeface="+mn-lt"/>
              </a:rPr>
              <a:t>overrideMethod</a:t>
            </a:r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(String str);</a:t>
            </a: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}</a:t>
            </a:r>
            <a:endParaRPr lang="en-US" sz="2000" dirty="0">
              <a:solidFill>
                <a:schemeClr val="tx1"/>
              </a:solidFill>
              <a:latin typeface="Arial"/>
            </a:endParaRPr>
          </a:p>
          <a:p>
            <a:endParaRPr lang="en-US" dirty="0"/>
          </a:p>
          <a:p>
            <a:r>
              <a:rPr lang="en-US" sz="1100" dirty="0">
                <a:solidFill>
                  <a:srgbClr val="008200"/>
                </a:solidFill>
                <a:latin typeface="Consolas"/>
                <a:ea typeface="+mn-lt"/>
                <a:cs typeface="+mn-lt"/>
              </a:rPr>
              <a:t>/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117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1D66F-7187-449F-9FF6-CECDF71B8E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71464"/>
            <a:ext cx="8201025" cy="575598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/ Implementation Class</a:t>
            </a:r>
          </a:p>
          <a:p>
            <a:pPr marL="285750" indent="-285750"/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public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class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InterfaceDemo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implements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NewInterface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{</a:t>
            </a:r>
          </a:p>
          <a:p>
            <a:pPr marL="285750" indent="-285750"/>
            <a:endParaRPr lang="en-US" sz="1600" dirty="0">
              <a:solidFill>
                <a:schemeClr val="tx1"/>
              </a:solidFill>
              <a:latin typeface="Arial"/>
              <a:cs typeface="Arial"/>
            </a:endParaRP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public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static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void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main(String[]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args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)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{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InterfaceDemo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interfaceDemo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=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new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InterfaceDemo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();</a:t>
            </a:r>
          </a:p>
          <a:p>
            <a:pPr marL="285750" indent="-285750"/>
            <a:endParaRPr lang="en-US" sz="1600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// Calling the static method of interface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NewInterface.hello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();</a:t>
            </a:r>
          </a:p>
          <a:p>
            <a:pPr marL="285750" indent="-285750"/>
            <a:endParaRPr lang="en-US" sz="1600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// Calling the abstract method of interface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interfaceDemo.overrideMethod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("Hello, Override Method here");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}</a:t>
            </a:r>
          </a:p>
          <a:p>
            <a:pPr marL="285750" indent="-285750"/>
            <a:endParaRPr lang="en-US" sz="1600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// Implementing interface method</a:t>
            </a:r>
          </a:p>
          <a:p>
            <a:pPr marL="285750" indent="-285750"/>
            <a:endParaRPr lang="en-US" sz="1600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@Override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public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b="1" dirty="0">
                <a:solidFill>
                  <a:schemeClr val="tx1"/>
                </a:solidFill>
                <a:latin typeface="Arial"/>
                <a:cs typeface="Arial"/>
              </a:rPr>
              <a:t>void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overrideMethod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(String str)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{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    </a:t>
            </a:r>
            <a:r>
              <a:rPr lang="en-US" sz="1600" dirty="0" err="1">
                <a:solidFill>
                  <a:schemeClr val="tx1"/>
                </a:solidFill>
                <a:latin typeface="Arial"/>
                <a:cs typeface="Arial"/>
              </a:rPr>
              <a:t>System.out.println</a:t>
            </a:r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(str);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    }</a:t>
            </a:r>
          </a:p>
          <a:p>
            <a:pPr marL="285750" indent="-285750"/>
            <a:r>
              <a:rPr lang="en-US" sz="1600" dirty="0">
                <a:solidFill>
                  <a:schemeClr val="tx1"/>
                </a:solidFill>
                <a:latin typeface="Arial"/>
                <a:cs typeface="Arial"/>
              </a:rPr>
              <a:t>}</a:t>
            </a:r>
          </a:p>
          <a:p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564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795B5-ECC3-CE9B-4E03-E7267DDCEA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88CA0BD-9D37-8F78-869D-5AE521B4A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8CA0BD-9D37-8F78-869D-5AE521B4A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09F0E0E-6541-D422-9E9D-25DBDDA693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5E32EDD-719C-87C8-A368-41E8F4BC191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9E03512-F950-85D0-EE1B-72D5DA4DEC6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F31F390-BBDB-9A4E-C6B9-D6A2D87028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533ACBA-35EF-F4FA-384A-A3BC10018E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E3EC246-720F-AF45-D35E-0C0910642E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4305CE8-6C08-796D-BF10-3DB7CCBB91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0A60297-E372-F7FB-F553-221A6180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0905D5-7E07-98A8-B007-173707C642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3200" dirty="0"/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3200" dirty="0"/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3200" dirty="0"/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3200" dirty="0"/>
          </a:p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Lambda Expressions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737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FF2C2-FEA7-AB0A-2C8A-4F6E4AE4E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4B9316E-2D7B-54E8-C145-D056285FB6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B9316E-2D7B-54E8-C145-D056285FB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8181EDF9-6DAC-A6A2-B2FD-2A31DF0891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B9765A5-4D1D-D336-CACF-EF125F67747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2925174-BC5D-60BB-E4C9-C656ECB8C6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679FCCE-9748-8509-FF60-28747E0688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CCDC7C7-4C98-D1AF-4606-F40D97CDB2C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AC1638A-4B2C-AB42-E7ED-6C1764C167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B2A71B3-A168-3DDC-B423-0B95724D80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E3627490-0714-F132-918B-21D998BD7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ABB4FE-0769-ADD4-FB17-E047FB4B30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Content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• Overview of Functional Interfac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• Exampl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• Lambda Expression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 • Method References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575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CCB10A-7AF2-4EC3-5174-351AF8F5AA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0C4FD7F-361D-F8DE-E3BA-380D5D1181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C4FD7F-361D-F8DE-E3BA-380D5D118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7908472-86DB-534D-9DC8-55FAC2538E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72BEAA5-7A35-AB17-429D-3DB27DB4271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A7D7387-5D83-6F2F-BE15-EBC3B6E4C4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A9A0C15-9346-049E-948D-171B42D0B9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199CEA-A123-EEB1-86E4-4B22B59F60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31C7CD5-942D-C5CF-3FE0-F04566B8B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3FBEBDE-AE0D-E33D-E94F-0D39903DB0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EB355D5-C89C-91A8-473C-9EF70052E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D21EFE-EB82-5C9A-6409-E0D4D58406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b="1" dirty="0"/>
              <a:t>Functional Interfac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An interface with only one abstract method - Functional Interfac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May or may not be annotated with @FunctionalInterfac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Few Examples of Functional Interface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Runn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Comparabl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Comparator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Function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Predicat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Consumer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Supplier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583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7DE983-A280-3C0E-CD5F-A26FAE949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FC22DC1-C5A6-D843-52CE-C8BAA2C6F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C22DC1-C5A6-D843-52CE-C8BAA2C6F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9F259614-6CBB-1540-E092-0A58E04FE2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DF7E2D7-A5D2-F37E-6B6A-70FCF28C776D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400502D-4917-62B9-6956-0C0BE30060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FAF7926-4E59-F845-6385-7C981FB0AB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19FE301-F708-9B45-E521-758B7253C8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1D860C1-262A-5175-6EBE-3E8198D260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D652D28-D97F-E18A-A459-0D820CE476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BBD1ABE-AF50-DC29-6F36-0FE741924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BF581B1-D628-275F-BA5C-51A4AE957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600" dirty="0"/>
              <a:t>Functional Interface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The </a:t>
            </a:r>
            <a:r>
              <a:rPr lang="en-US" sz="2000" dirty="0" err="1"/>
              <a:t>java.util.function</a:t>
            </a:r>
            <a:r>
              <a:rPr lang="en-US" sz="2000" dirty="0"/>
              <a:t> package has 8 functional interfaces.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Function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</a:t>
            </a:r>
            <a:r>
              <a:rPr lang="en-US" sz="2000" dirty="0" err="1"/>
              <a:t>BiFunction</a:t>
            </a:r>
            <a:r>
              <a:rPr lang="en-US" sz="2000" dirty="0"/>
              <a:t>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Consumer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</a:t>
            </a:r>
            <a:r>
              <a:rPr lang="en-US" sz="2000" dirty="0" err="1"/>
              <a:t>BiConsumer</a:t>
            </a:r>
            <a:endParaRPr lang="en-US" sz="2000" dirty="0"/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Supplier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</a:t>
            </a:r>
            <a:r>
              <a:rPr lang="en-US" sz="2000" dirty="0" err="1"/>
              <a:t>BiSupplier</a:t>
            </a:r>
            <a:r>
              <a:rPr lang="en-US" sz="2000" dirty="0"/>
              <a:t>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Predicat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</a:t>
            </a:r>
            <a:r>
              <a:rPr lang="en-US" sz="2000" dirty="0" err="1"/>
              <a:t>BiPredicate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913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0B7A6A-27B3-8653-CD85-BFD17B03F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8E0A550-4663-519A-C303-C5812EB122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E0A550-4663-519A-C303-C5812EB12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D577AC1-3432-351E-E5B5-7CE0552AF3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8A459FB-F751-2009-0A32-D025E5D19C3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0CDB824-3704-3499-0718-F07741A61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00055A1-FE9E-5910-FC2D-EA0EFFE95E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FB207FC-9762-25DB-9E3F-83E6534442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EAAED42-CADC-CE4B-3C57-8F1E0D2B03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00C4E74-6F9E-2EF1-4C19-3611847B5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E159D91-D8D4-63E6-12AD-0AEA746FE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7AC0AE-6AC9-73D4-FC9E-BE01387251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 algn="ctr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4400" dirty="0"/>
              <a:t>Interfaces</a:t>
            </a:r>
            <a:endParaRPr lang="en-US" sz="44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861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AA09F9-384A-9DF2-F3DD-79A76CB4A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29395F1-79FE-EDF0-E5DF-A9CE635FD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9395F1-79FE-EDF0-E5DF-A9CE635FD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29DDEC8-7A6F-1A2C-B8C3-9E7C2808DB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9F70AB9-C9DC-9FE7-08A8-D296DC6EED4F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D76952C5-CCFF-D1C4-93AA-FB3C7C620E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FEA547C-548A-FB7E-5466-14AE1AEBFD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ECC7725D-4B4C-5848-8AF0-1BA19F61BA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23F59D6-C24A-99FA-1079-268949989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590C2EE-92D4-7E5F-65E8-CA4D35C680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7ED3FF9-29B7-DEB0-06BF-912E2CA1F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AF3B13-DE6A-0DC8-CF32-69468F78D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b="1" dirty="0"/>
              <a:t>Lambda Expression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dirty="0"/>
              <a:t> </a:t>
            </a:r>
            <a:r>
              <a:rPr lang="en-US" sz="2400" dirty="0"/>
              <a:t>• Is defined as a method without name, access specifier, return type.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• Make the code writing simple, short and read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. • Short way to write the method in the same place where it will be used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Used with functional interfaces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 err="1"/>
              <a:t>eg.</a:t>
            </a:r>
            <a:r>
              <a:rPr lang="en-US" sz="2400" dirty="0"/>
              <a:t>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public int add(int x, int y){ return </a:t>
            </a:r>
            <a:r>
              <a:rPr lang="en-US" sz="2400" dirty="0" err="1"/>
              <a:t>x+y</a:t>
            </a:r>
            <a:r>
              <a:rPr lang="en-US" sz="2400" dirty="0"/>
              <a:t>;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Using Lambda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(int x, int y) -&gt; { return </a:t>
            </a:r>
            <a:r>
              <a:rPr lang="en-US" sz="2400" dirty="0" err="1"/>
              <a:t>x+y</a:t>
            </a:r>
            <a:r>
              <a:rPr lang="en-US" sz="2400" dirty="0"/>
              <a:t>; }</a:t>
            </a:r>
            <a:endParaRPr lang="en-US" sz="2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021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5F2796-CE7C-9CD2-3631-E823BDA726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834071D-AA3C-F96E-DCCA-3692FFF10C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34071D-AA3C-F96E-DCCA-3692FFF10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932512D-5031-E733-52F3-4662DD2792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F82657E-7198-BB4E-1EE7-FF4ACF96187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60903A5-2B04-E3F9-3F80-05BE0EFD65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E723CC-6208-98C8-36BE-84DDDCDCD71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BEC189B-C2E0-83E4-11A1-E10D8ECD2C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4068729-7B23-74C4-4DB4-9C7766983F8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1EDFEDD-11BB-7A5F-0D2C-62C3C77E21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981F513E-424C-A66C-13A9-E623DCE63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4ED40E-2370-EF49-4538-3DDF68B37D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b="1" dirty="0"/>
              <a:t>Syntax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2800" b="1" dirty="0"/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(parameter) -&gt; expression (parameters) -&gt; {statements};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()-&gt;expression (arg1, arg2 . . . ) -&gt; { body } (type1 arg1, type2 arg2 . . .) -&gt; { body } (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2800" dirty="0"/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(int a, int b ) -&gt; { return </a:t>
            </a:r>
            <a:r>
              <a:rPr lang="en-US" sz="2800" dirty="0" err="1"/>
              <a:t>a+b</a:t>
            </a:r>
            <a:r>
              <a:rPr lang="en-US" sz="2800" dirty="0"/>
              <a:t>;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() -&gt; </a:t>
            </a:r>
            <a:r>
              <a:rPr lang="en-US" sz="2800" dirty="0" err="1"/>
              <a:t>System.out.println</a:t>
            </a:r>
            <a:r>
              <a:rPr lang="en-US" sz="2800" dirty="0"/>
              <a:t> ( “Hello World”);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(String S ) -&gt; { </a:t>
            </a:r>
            <a:r>
              <a:rPr lang="en-US" sz="2800" dirty="0" err="1"/>
              <a:t>System.out.println</a:t>
            </a:r>
            <a:r>
              <a:rPr lang="en-US" sz="2800" dirty="0"/>
              <a:t> (s) ; }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 (</a:t>
            </a:r>
            <a:r>
              <a:rPr lang="en-US" sz="2800" dirty="0" err="1"/>
              <a:t>a,b</a:t>
            </a:r>
            <a:r>
              <a:rPr lang="en-US" sz="2800" dirty="0"/>
              <a:t>) -&gt; { return </a:t>
            </a:r>
            <a:r>
              <a:rPr lang="en-US" sz="2800" dirty="0" err="1"/>
              <a:t>a+b</a:t>
            </a:r>
            <a:r>
              <a:rPr lang="en-US" sz="2800" dirty="0"/>
              <a:t>} ;</a:t>
            </a:r>
            <a:endParaRPr lang="en-US" sz="2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481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A74F7-285A-5036-14E7-A929AEC66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F060D9-87D7-CEBA-CFA2-85C7105D95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060D9-87D7-CEBA-CFA2-85C7105D9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16EC7AF-0FE9-5E3D-46D0-31521BC7AA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ECC8041-7C19-2CB7-2447-7727BF06931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FD38A32-FCD5-9C1B-C7F2-7D7EC78758F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DEBE1AB-0681-49AD-276F-A1D0272F06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C725D1E-86AB-4D7F-4BB7-0F5F997581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BD459BA-B15D-E2A0-365C-059B85AE1A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482323C-8C33-370B-8CAC-41E0D4BB17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0468C43-6564-F172-868B-B8E5D4228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716C25-948E-9A4D-586E-D92F08A800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Examp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</a:t>
            </a:r>
            <a:r>
              <a:rPr lang="en-US" sz="2000" b="1" dirty="0">
                <a:solidFill>
                  <a:srgbClr val="006699"/>
                </a:solidFill>
                <a:latin typeface="inter-regular"/>
              </a:rPr>
              <a:t>interface</a:t>
            </a:r>
            <a:r>
              <a:rPr lang="en-US" sz="2000" dirty="0">
                <a:latin typeface="inter-regular"/>
              </a:rPr>
              <a:t> Addable{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	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int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add(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int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,</a:t>
            </a:r>
            <a:r>
              <a:rPr lang="en-US" sz="2000" b="1" i="0" dirty="0" err="1">
                <a:solidFill>
                  <a:srgbClr val="006699"/>
                </a:solidFill>
                <a:effectLst/>
                <a:latin typeface="inter-regular"/>
              </a:rPr>
              <a:t>int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b);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	}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</a:p>
          <a:p>
            <a:pPr algn="just">
              <a:buNone/>
            </a:pP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public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class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LambdaExpressionExample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{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public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static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void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main(String[]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rgs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 {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</a:t>
            </a:r>
            <a:r>
              <a:rPr lang="en-US" sz="2000" b="0" i="0" dirty="0">
                <a:solidFill>
                  <a:srgbClr val="008200"/>
                </a:solidFill>
                <a:effectLst/>
                <a:latin typeface="inter-regular"/>
              </a:rPr>
              <a:t>// Multiple parameters in lambda expression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 Addable ad1=(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,b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-&gt;(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+b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;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System.out.println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(ad1.add(</a:t>
            </a:r>
            <a:r>
              <a:rPr lang="en-US" sz="2000" b="0" i="0" dirty="0">
                <a:solidFill>
                  <a:srgbClr val="C00000"/>
                </a:solidFill>
                <a:effectLst/>
                <a:latin typeface="inter-regular"/>
              </a:rPr>
              <a:t>10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,</a:t>
            </a:r>
            <a:r>
              <a:rPr lang="en-US" sz="2000" b="0" i="0" dirty="0">
                <a:solidFill>
                  <a:srgbClr val="C00000"/>
                </a:solidFill>
                <a:effectLst/>
                <a:latin typeface="inter-regular"/>
              </a:rPr>
              <a:t>20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);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</a:t>
            </a:r>
            <a:r>
              <a:rPr lang="en-US" sz="2000" b="0" i="0" dirty="0">
                <a:solidFill>
                  <a:srgbClr val="008200"/>
                </a:solidFill>
                <a:effectLst/>
                <a:latin typeface="inter-regular"/>
              </a:rPr>
              <a:t>// Multiple parameters with data type in lambda expression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 Addable ad2=(</a:t>
            </a:r>
            <a:r>
              <a:rPr lang="en-US" sz="2000" b="1" i="0" dirty="0">
                <a:solidFill>
                  <a:srgbClr val="006699"/>
                </a:solidFill>
                <a:effectLst/>
                <a:latin typeface="inter-regular"/>
              </a:rPr>
              <a:t>int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,</a:t>
            </a:r>
            <a:r>
              <a:rPr lang="en-US" sz="2000" b="1" i="0" dirty="0" err="1">
                <a:solidFill>
                  <a:srgbClr val="006699"/>
                </a:solidFill>
                <a:effectLst/>
                <a:latin typeface="inter-regular"/>
              </a:rPr>
              <a:t>int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b)-&gt;(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a+b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;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     </a:t>
            </a:r>
            <a:r>
              <a:rPr lang="en-US" sz="2000" b="0" i="0" dirty="0" err="1">
                <a:solidFill>
                  <a:srgbClr val="000000"/>
                </a:solidFill>
                <a:effectLst/>
                <a:latin typeface="inter-regular"/>
              </a:rPr>
              <a:t>System.out.println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(ad2.add(</a:t>
            </a:r>
            <a:r>
              <a:rPr lang="en-US" sz="2000" b="0" i="0" dirty="0">
                <a:solidFill>
                  <a:srgbClr val="C00000"/>
                </a:solidFill>
                <a:effectLst/>
                <a:latin typeface="inter-regular"/>
              </a:rPr>
              <a:t>100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,</a:t>
            </a:r>
            <a:r>
              <a:rPr lang="en-US" sz="2000" b="0" i="0" dirty="0">
                <a:solidFill>
                  <a:srgbClr val="C00000"/>
                </a:solidFill>
                <a:effectLst/>
                <a:latin typeface="inter-regular"/>
              </a:rPr>
              <a:t>200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));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   }  </a:t>
            </a:r>
          </a:p>
          <a:p>
            <a:pPr algn="just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inter-regular"/>
              </a:rPr>
              <a:t>}  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2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202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B6D8AB-826E-2F95-EE1C-ED8C885673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377298"/>
            <a:ext cx="8201025" cy="5650155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/>
            <a:r>
              <a:rPr lang="en-US" sz="2000" b="1" dirty="0">
                <a:solidFill>
                  <a:schemeClr val="tx1"/>
                </a:solidFill>
              </a:rPr>
              <a:t>Java Method References</a:t>
            </a:r>
            <a:endParaRPr lang="en-US" sz="2000" b="1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/>
            <a:endParaRPr lang="en-US" sz="2000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/>
            <a:r>
              <a:rPr lang="en-US" sz="2000" dirty="0">
                <a:solidFill>
                  <a:srgbClr val="333333"/>
                </a:solidFill>
                <a:ea typeface="+mn-lt"/>
                <a:cs typeface="+mn-lt"/>
              </a:rPr>
              <a:t>Method reference is used to refer method of functional interface.</a:t>
            </a:r>
          </a:p>
          <a:p>
            <a:pPr marL="285750" indent="-285750"/>
            <a:endParaRPr lang="en-US" sz="2000" dirty="0">
              <a:solidFill>
                <a:srgbClr val="333333"/>
              </a:solidFill>
              <a:ea typeface="+mn-lt"/>
              <a:cs typeface="+mn-lt"/>
            </a:endParaRPr>
          </a:p>
          <a:p>
            <a:pPr marL="342900" indent="-342900"/>
            <a:r>
              <a:rPr lang="en-US" sz="2400" b="1" dirty="0">
                <a:ea typeface="+mn-lt"/>
                <a:cs typeface="+mn-lt"/>
              </a:rPr>
              <a:t>Syntax: </a:t>
            </a:r>
            <a:r>
              <a:rPr lang="en-US" sz="2400" b="1" dirty="0" err="1">
                <a:ea typeface="+mn-lt"/>
                <a:cs typeface="+mn-lt"/>
              </a:rPr>
              <a:t>ContainingClass</a:t>
            </a:r>
            <a:r>
              <a:rPr lang="en-US" sz="2400" b="1" dirty="0">
                <a:ea typeface="+mn-lt"/>
                <a:cs typeface="+mn-lt"/>
              </a:rPr>
              <a:t>::</a:t>
            </a:r>
            <a:r>
              <a:rPr lang="en-US" sz="2400" b="1" dirty="0" err="1">
                <a:ea typeface="+mn-lt"/>
                <a:cs typeface="+mn-lt"/>
              </a:rPr>
              <a:t>staticMethodName</a:t>
            </a:r>
            <a:r>
              <a:rPr lang="en-US" sz="2400" dirty="0">
                <a:ea typeface="+mn-lt"/>
                <a:cs typeface="+mn-lt"/>
              </a:rPr>
              <a:t>  </a:t>
            </a:r>
            <a:endParaRPr lang="en-US" sz="2400" dirty="0">
              <a:solidFill>
                <a:srgbClr val="333333"/>
              </a:solidFill>
              <a:cs typeface="Arial"/>
            </a:endParaRPr>
          </a:p>
          <a:p>
            <a:pPr marL="285750" indent="-285750"/>
            <a:endParaRPr lang="en-US" sz="2000" dirty="0">
              <a:solidFill>
                <a:srgbClr val="333333"/>
              </a:solidFill>
              <a:cs typeface="Arial"/>
            </a:endParaRPr>
          </a:p>
          <a:p>
            <a:pPr marL="285750" indent="-285750"/>
            <a:endParaRPr lang="en-US" sz="2000" b="1" dirty="0">
              <a:solidFill>
                <a:schemeClr val="tx1"/>
              </a:solidFill>
            </a:endParaRPr>
          </a:p>
          <a:p>
            <a:pPr algn="just"/>
            <a:r>
              <a:rPr lang="en-US" sz="2000" b="1" dirty="0">
                <a:solidFill>
                  <a:schemeClr val="tx1"/>
                </a:solidFill>
              </a:rPr>
              <a:t>Types of Method References</a:t>
            </a:r>
            <a:endParaRPr lang="en-US" sz="2000" b="1" dirty="0">
              <a:solidFill>
                <a:schemeClr val="tx1"/>
              </a:solidFill>
              <a:cs typeface="Arial"/>
            </a:endParaRPr>
          </a:p>
          <a:p>
            <a:pPr algn="just"/>
            <a:endParaRPr lang="en-US" sz="2000" b="1" dirty="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600" dirty="0">
                <a:solidFill>
                  <a:srgbClr val="333333"/>
                </a:solidFill>
                <a:ea typeface="+mn-lt"/>
                <a:cs typeface="+mn-lt"/>
              </a:rPr>
              <a:t>There are following types of method references in java:</a:t>
            </a:r>
            <a:endParaRPr lang="en-US" sz="1600">
              <a:cs typeface="Arial"/>
            </a:endParaRPr>
          </a:p>
          <a:p>
            <a:r>
              <a:rPr lang="en-US" sz="1600" dirty="0">
                <a:ea typeface="+mn-lt"/>
                <a:cs typeface="+mn-lt"/>
              </a:rPr>
              <a:t>Reference to a static method.</a:t>
            </a:r>
            <a:endParaRPr lang="en-US" sz="1600">
              <a:cs typeface="Arial"/>
            </a:endParaRPr>
          </a:p>
          <a:p>
            <a:r>
              <a:rPr lang="en-US" sz="1600" dirty="0">
                <a:ea typeface="+mn-lt"/>
                <a:cs typeface="+mn-lt"/>
              </a:rPr>
              <a:t>Reference to an instance method.</a:t>
            </a:r>
            <a:endParaRPr lang="en-US" sz="1600">
              <a:cs typeface="Arial"/>
            </a:endParaRPr>
          </a:p>
          <a:p>
            <a:r>
              <a:rPr lang="en-US" sz="1600" dirty="0">
                <a:ea typeface="+mn-lt"/>
                <a:cs typeface="+mn-lt"/>
              </a:rPr>
              <a:t>Reference to a constructor.</a:t>
            </a:r>
          </a:p>
          <a:p>
            <a:endParaRPr lang="en-US" sz="1600" dirty="0">
              <a:cs typeface="Arial"/>
            </a:endParaRPr>
          </a:p>
          <a:p>
            <a:pPr algn="just">
              <a:buNone/>
            </a:pPr>
            <a:endParaRPr lang="en-US" sz="1600" b="1" dirty="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sz="1200" dirty="0">
              <a:solidFill>
                <a:srgbClr val="333333"/>
              </a:solidFill>
              <a:cs typeface="Arial"/>
            </a:endParaRPr>
          </a:p>
          <a:p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701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BD6C6-D538-0020-7046-52800BB82A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398464"/>
            <a:ext cx="8201025" cy="562898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 import </a:t>
            </a:r>
            <a:r>
              <a:rPr lang="en-US" dirty="0" err="1">
                <a:ea typeface="+mn-lt"/>
                <a:cs typeface="+mn-lt"/>
              </a:rPr>
              <a:t>java.util.Arrays</a:t>
            </a:r>
            <a:r>
              <a:rPr lang="en-US" dirty="0">
                <a:ea typeface="+mn-lt"/>
                <a:cs typeface="+mn-lt"/>
              </a:rPr>
              <a:t>;</a:t>
            </a:r>
          </a:p>
          <a:p>
            <a:r>
              <a:rPr lang="en-US" dirty="0">
                <a:ea typeface="+mn-lt"/>
                <a:cs typeface="+mn-lt"/>
              </a:rPr>
              <a:t> import </a:t>
            </a:r>
            <a:r>
              <a:rPr lang="en-US" dirty="0" err="1">
                <a:ea typeface="+mn-lt"/>
                <a:cs typeface="+mn-lt"/>
              </a:rPr>
              <a:t>java.util.List</a:t>
            </a:r>
            <a:r>
              <a:rPr lang="en-US" dirty="0">
                <a:ea typeface="+mn-lt"/>
                <a:cs typeface="+mn-lt"/>
              </a:rPr>
              <a:t>;</a:t>
            </a:r>
          </a:p>
          <a:p>
            <a:r>
              <a:rPr lang="en-US" dirty="0">
                <a:ea typeface="+mn-lt"/>
                <a:cs typeface="+mn-lt"/>
              </a:rPr>
              <a:t> import </a:t>
            </a:r>
            <a:r>
              <a:rPr lang="en-US" dirty="0" err="1">
                <a:ea typeface="+mn-lt"/>
                <a:cs typeface="+mn-lt"/>
              </a:rPr>
              <a:t>java.util.function.Consumer</a:t>
            </a:r>
            <a:r>
              <a:rPr lang="en-US" dirty="0">
                <a:ea typeface="+mn-lt"/>
                <a:cs typeface="+mn-lt"/>
              </a:rPr>
              <a:t>;</a:t>
            </a:r>
            <a:endParaRPr lang="en-US" dirty="0">
              <a:cs typeface="Arial"/>
            </a:endParaRPr>
          </a:p>
          <a:p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 public class MethodReference1</a:t>
            </a:r>
          </a:p>
          <a:p>
            <a:r>
              <a:rPr lang="en-US" dirty="0">
                <a:ea typeface="+mn-lt"/>
                <a:cs typeface="+mn-lt"/>
              </a:rPr>
              <a:t>{ </a:t>
            </a:r>
          </a:p>
          <a:p>
            <a:r>
              <a:rPr lang="en-US" dirty="0">
                <a:ea typeface="+mn-lt"/>
                <a:cs typeface="+mn-lt"/>
              </a:rPr>
              <a:t>public static void main(String[] </a:t>
            </a:r>
            <a:r>
              <a:rPr lang="en-US" dirty="0" err="1">
                <a:ea typeface="+mn-lt"/>
                <a:cs typeface="+mn-lt"/>
              </a:rPr>
              <a:t>args</a:t>
            </a:r>
            <a:r>
              <a:rPr lang="en-US" dirty="0">
                <a:ea typeface="+mn-lt"/>
                <a:cs typeface="+mn-lt"/>
              </a:rPr>
              <a:t>)</a:t>
            </a:r>
          </a:p>
          <a:p>
            <a:r>
              <a:rPr lang="en-US" dirty="0">
                <a:ea typeface="+mn-lt"/>
                <a:cs typeface="+mn-lt"/>
              </a:rPr>
              <a:t> { List </a:t>
            </a:r>
            <a:r>
              <a:rPr lang="en-US" dirty="0" err="1">
                <a:ea typeface="+mn-lt"/>
                <a:cs typeface="+mn-lt"/>
              </a:rPr>
              <a:t>list</a:t>
            </a:r>
            <a:r>
              <a:rPr lang="en-US" dirty="0">
                <a:ea typeface="+mn-lt"/>
                <a:cs typeface="+mn-lt"/>
              </a:rPr>
              <a:t> = </a:t>
            </a:r>
            <a:r>
              <a:rPr lang="en-US" dirty="0" err="1">
                <a:ea typeface="+mn-lt"/>
                <a:cs typeface="+mn-lt"/>
              </a:rPr>
              <a:t>Arrays.asList</a:t>
            </a:r>
            <a:r>
              <a:rPr lang="en-US" dirty="0">
                <a:ea typeface="+mn-lt"/>
                <a:cs typeface="+mn-lt"/>
              </a:rPr>
              <a:t>("A", "B", "C"); </a:t>
            </a:r>
          </a:p>
          <a:p>
            <a:r>
              <a:rPr lang="en-US" dirty="0">
                <a:ea typeface="+mn-lt"/>
                <a:cs typeface="+mn-lt"/>
              </a:rPr>
              <a:t>// anonymous class </a:t>
            </a:r>
          </a:p>
          <a:p>
            <a:r>
              <a:rPr lang="en-US" dirty="0" err="1">
                <a:ea typeface="+mn-lt"/>
                <a:cs typeface="+mn-lt"/>
              </a:rPr>
              <a:t>list.forEach</a:t>
            </a:r>
            <a:r>
              <a:rPr lang="en-US" dirty="0">
                <a:ea typeface="+mn-lt"/>
                <a:cs typeface="+mn-lt"/>
              </a:rPr>
              <a:t>(new Consumer() </a:t>
            </a:r>
          </a:p>
          <a:p>
            <a:r>
              <a:rPr lang="en-US" dirty="0">
                <a:ea typeface="+mn-lt"/>
                <a:cs typeface="+mn-lt"/>
              </a:rPr>
              <a:t>{ @Override public void accept(String x)</a:t>
            </a:r>
          </a:p>
          <a:p>
            <a:r>
              <a:rPr lang="en-US" dirty="0">
                <a:ea typeface="+mn-lt"/>
                <a:cs typeface="+mn-lt"/>
              </a:rPr>
              <a:t> { </a:t>
            </a:r>
            <a:r>
              <a:rPr lang="en-US" dirty="0" err="1">
                <a:ea typeface="+mn-lt"/>
                <a:cs typeface="+mn-lt"/>
              </a:rPr>
              <a:t>SimplePrinter.print</a:t>
            </a:r>
            <a:r>
              <a:rPr lang="en-US" dirty="0">
                <a:ea typeface="+mn-lt"/>
                <a:cs typeface="+mn-lt"/>
              </a:rPr>
              <a:t>(x); } }); </a:t>
            </a:r>
          </a:p>
          <a:p>
            <a:r>
              <a:rPr lang="en-US" dirty="0">
                <a:ea typeface="+mn-lt"/>
                <a:cs typeface="+mn-lt"/>
              </a:rPr>
              <a:t>// lambda expression</a:t>
            </a:r>
          </a:p>
          <a:p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list.forEach</a:t>
            </a:r>
            <a:r>
              <a:rPr lang="en-US" dirty="0">
                <a:ea typeface="+mn-lt"/>
                <a:cs typeface="+mn-lt"/>
              </a:rPr>
              <a:t>(x -&gt; </a:t>
            </a:r>
            <a:r>
              <a:rPr lang="en-US" dirty="0" err="1">
                <a:ea typeface="+mn-lt"/>
                <a:cs typeface="+mn-lt"/>
              </a:rPr>
              <a:t>SimplePrinter.print</a:t>
            </a:r>
            <a:r>
              <a:rPr lang="en-US" dirty="0">
                <a:ea typeface="+mn-lt"/>
                <a:cs typeface="+mn-lt"/>
              </a:rPr>
              <a:t>(x)); </a:t>
            </a:r>
          </a:p>
          <a:p>
            <a:r>
              <a:rPr lang="en-US" dirty="0">
                <a:ea typeface="+mn-lt"/>
                <a:cs typeface="+mn-lt"/>
              </a:rPr>
              <a:t>// method reference </a:t>
            </a:r>
          </a:p>
          <a:p>
            <a:r>
              <a:rPr lang="en-US" dirty="0" err="1">
                <a:ea typeface="+mn-lt"/>
                <a:cs typeface="+mn-lt"/>
              </a:rPr>
              <a:t>list.forEach</a:t>
            </a:r>
            <a:r>
              <a:rPr lang="en-US" dirty="0">
                <a:ea typeface="+mn-lt"/>
                <a:cs typeface="+mn-lt"/>
              </a:rPr>
              <a:t>(</a:t>
            </a:r>
            <a:r>
              <a:rPr lang="en-US" dirty="0" err="1">
                <a:ea typeface="+mn-lt"/>
                <a:cs typeface="+mn-lt"/>
              </a:rPr>
              <a:t>SimplePrinter</a:t>
            </a:r>
            <a:r>
              <a:rPr lang="en-US" dirty="0">
                <a:ea typeface="+mn-lt"/>
                <a:cs typeface="+mn-lt"/>
              </a:rPr>
              <a:t>::print); </a:t>
            </a:r>
          </a:p>
          <a:p>
            <a:r>
              <a:rPr lang="en-US" dirty="0">
                <a:ea typeface="+mn-lt"/>
                <a:cs typeface="+mn-lt"/>
              </a:rPr>
              <a:t>} }</a:t>
            </a:r>
          </a:p>
          <a:p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 class </a:t>
            </a:r>
            <a:r>
              <a:rPr lang="en-US" dirty="0" err="1">
                <a:ea typeface="+mn-lt"/>
                <a:cs typeface="+mn-lt"/>
              </a:rPr>
              <a:t>SimplePrinter</a:t>
            </a:r>
            <a:r>
              <a:rPr lang="en-US" dirty="0">
                <a:ea typeface="+mn-lt"/>
                <a:cs typeface="+mn-lt"/>
              </a:rPr>
              <a:t> </a:t>
            </a:r>
          </a:p>
          <a:p>
            <a:r>
              <a:rPr lang="en-US" dirty="0">
                <a:ea typeface="+mn-lt"/>
                <a:cs typeface="+mn-lt"/>
              </a:rPr>
              <a:t>{ public static void print(String str)</a:t>
            </a:r>
          </a:p>
          <a:p>
            <a:r>
              <a:rPr lang="en-US" dirty="0">
                <a:ea typeface="+mn-lt"/>
                <a:cs typeface="+mn-lt"/>
              </a:rPr>
              <a:t> { </a:t>
            </a:r>
            <a:r>
              <a:rPr lang="en-US" dirty="0" err="1">
                <a:ea typeface="+mn-lt"/>
                <a:cs typeface="+mn-lt"/>
              </a:rPr>
              <a:t>System.out.println</a:t>
            </a:r>
            <a:r>
              <a:rPr lang="en-US" dirty="0">
                <a:ea typeface="+mn-lt"/>
                <a:cs typeface="+mn-lt"/>
              </a:rPr>
              <a:t>(str);</a:t>
            </a:r>
          </a:p>
          <a:p>
            <a:r>
              <a:rPr lang="en-US" dirty="0">
                <a:ea typeface="+mn-lt"/>
                <a:cs typeface="+mn-lt"/>
              </a:rPr>
              <a:t> } }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4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B03ED6-D534-6E70-57E1-FBBF1AE7C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71464"/>
            <a:ext cx="8201025" cy="5755989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/>
            <a:r>
              <a:rPr lang="en-US" b="1" dirty="0">
                <a:solidFill>
                  <a:schemeClr val="tx1"/>
                </a:solidFill>
                <a:latin typeface="Arial"/>
                <a:cs typeface="Arial" panose="020B0604020202020204"/>
              </a:rPr>
              <a:t>Reference to an instance method of a particular object</a:t>
            </a:r>
          </a:p>
          <a:p>
            <a:pPr marL="285750" indent="-285750"/>
            <a:endParaRPr lang="en-US" sz="1800" b="1" dirty="0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/>
            <a:r>
              <a:rPr lang="en-US" sz="2400" b="1" dirty="0" err="1">
                <a:solidFill>
                  <a:schemeClr val="tx1"/>
                </a:solidFill>
                <a:ea typeface="+mn-lt"/>
                <a:cs typeface="+mn-lt"/>
              </a:rPr>
              <a:t>Syntax: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object</a:t>
            </a:r>
            <a:r>
              <a:rPr lang="en-US" sz="1800" b="1" dirty="0">
                <a:solidFill>
                  <a:schemeClr val="tx1"/>
                </a:solidFill>
                <a:ea typeface="+mn-lt"/>
                <a:cs typeface="+mn-lt"/>
              </a:rPr>
              <a:t>::</a:t>
            </a:r>
            <a:r>
              <a:rPr lang="en-US" sz="1800" b="1" dirty="0" err="1">
                <a:solidFill>
                  <a:schemeClr val="tx1"/>
                </a:solidFill>
                <a:ea typeface="+mn-lt"/>
                <a:cs typeface="+mn-lt"/>
              </a:rPr>
              <a:t>instanceMethodName</a:t>
            </a:r>
            <a:endParaRPr lang="en-US" sz="1800" b="1" dirty="0" err="1">
              <a:solidFill>
                <a:schemeClr val="tx1"/>
              </a:solidFill>
              <a:cs typeface="Arial" panose="020B0604020202020204"/>
            </a:endParaRPr>
          </a:p>
          <a:p>
            <a:endParaRPr lang="en-US" sz="1100" dirty="0">
              <a:solidFill>
                <a:srgbClr val="ABB2BF"/>
              </a:solidFill>
              <a:ea typeface="+mn-lt"/>
              <a:cs typeface="+mn-lt"/>
            </a:endParaRPr>
          </a:p>
          <a:p>
            <a:endParaRPr lang="en-US" sz="1400" dirty="0">
              <a:solidFill>
                <a:schemeClr val="tx1"/>
              </a:solidFill>
              <a:cs typeface="Arial"/>
            </a:endParaRP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java.math.BigDecimal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java.util.Arrays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java.util.List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</a:p>
          <a:p>
            <a:endParaRPr lang="en-US" sz="1400" dirty="0">
              <a:solidFill>
                <a:schemeClr val="tx1"/>
              </a:solidFill>
              <a:cs typeface="Arial"/>
            </a:endParaRP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public class MethodReference2 {</a:t>
            </a:r>
          </a:p>
          <a:p>
            <a:endParaRPr lang="en-US" sz="1400" dirty="0">
              <a:solidFill>
                <a:schemeClr val="tx1"/>
              </a:solidFill>
              <a:cs typeface="Arial"/>
            </a:endParaRP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 public static void main(String[]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args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) {</a:t>
            </a:r>
          </a:p>
          <a:p>
            <a:endParaRPr lang="en-US" sz="1400" dirty="0">
              <a:solidFill>
                <a:schemeClr val="tx1"/>
              </a:solidFill>
              <a:cs typeface="Arial"/>
            </a:endParaRP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 List&lt;Employee&gt; list =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Arrays.asList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     new Employee("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mkyong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", 38,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BigDecimal.valueOf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3800)),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     new Employee("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zilap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", 5,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BigDecimal.valueOf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100)),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     new Employee("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ali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", 25,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BigDecimal.valueOf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2500)),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     new Employee("unknown", 99,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BigDecimal.valueOf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9999)));</a:t>
            </a:r>
          </a:p>
          <a:p>
            <a:endParaRPr lang="en-US" sz="1400" dirty="0">
              <a:solidFill>
                <a:schemeClr val="tx1"/>
              </a:solidFill>
              <a:cs typeface="Arial"/>
            </a:endParaRP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 // anonymous class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 /*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list.sort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new Comparator&lt;Employee&gt;() {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 @Override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 public int compare(Employee o1, Employee o2) {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     return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provider.compareBySalary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(o1, o2);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     }</a:t>
            </a:r>
          </a:p>
          <a:p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        });*/</a:t>
            </a:r>
          </a:p>
          <a:p>
            <a:endParaRPr lang="en-US" dirty="0"/>
          </a:p>
          <a:p>
            <a:r>
              <a:rPr lang="en-US" sz="1100" dirty="0">
                <a:solidFill>
                  <a:srgbClr val="ABB2BF"/>
                </a:solidFill>
                <a:ea typeface="+mn-lt"/>
                <a:cs typeface="+mn-lt"/>
              </a:rPr>
              <a:t>     </a:t>
            </a:r>
          </a:p>
          <a:p>
            <a:endParaRPr lang="en-US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62278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86350-4E5E-8B78-5A08-C6352AB750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92631"/>
            <a:ext cx="8201025" cy="5734822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/>
            <a:r>
              <a:rPr lang="en-US" sz="1100" dirty="0">
                <a:solidFill>
                  <a:srgbClr val="ABB2BF"/>
                </a:solidFill>
                <a:cs typeface="Arial"/>
              </a:rPr>
              <a:t>  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 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ComparatorProvider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 provider = new 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ComparatorProvider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);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     // lambda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     // </a:t>
            </a:r>
            <a:r>
              <a:rPr lang="en-US" sz="1100" dirty="0" err="1">
                <a:solidFill>
                  <a:schemeClr val="tx1"/>
                </a:solidFill>
                <a:cs typeface="Arial"/>
              </a:rPr>
              <a:t>list.sort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(o1, o2) -&gt; </a:t>
            </a:r>
            <a:r>
              <a:rPr lang="en-US" sz="1100" dirty="0" err="1">
                <a:solidFill>
                  <a:schemeClr val="tx1"/>
                </a:solidFill>
                <a:cs typeface="Arial"/>
              </a:rPr>
              <a:t>provider.compareBySalary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o1, o2));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     // method reference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     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list.sort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provider::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compareBySalary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);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     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list.forEach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x -&gt; 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ystem.out.println</a:t>
            </a:r>
            <a:r>
              <a:rPr lang="en-US" sz="1100" dirty="0">
                <a:solidFill>
                  <a:schemeClr val="tx1"/>
                </a:solidFill>
                <a:cs typeface="Arial"/>
              </a:rPr>
              <a:t>(x));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    }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285750" indent="-285750"/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cs typeface="Arial"/>
              </a:rPr>
              <a:t>}</a:t>
            </a:r>
          </a:p>
          <a:p>
            <a:pPr marL="184785" lvl="1" indent="-123190">
              <a:buFont typeface="Courier New" panose="020B0604020202020204" pitchFamily="34" charset="0"/>
              <a:buChar char="o"/>
            </a:pPr>
            <a:endParaRPr lang="en-US" sz="1100" dirty="0">
              <a:solidFill>
                <a:schemeClr val="tx1"/>
              </a:solidFill>
              <a:ea typeface="+mn-lt"/>
              <a:cs typeface="+mn-lt"/>
            </a:endParaRPr>
          </a:p>
          <a:p>
            <a:pPr marL="184785" lvl="1" indent="-123190">
              <a:buFont typeface="Courier New" panose="020B0604020202020204" pitchFamily="34" charset="0"/>
              <a:buChar char="o"/>
            </a:pPr>
            <a:endParaRPr lang="en-US" sz="1100" dirty="0">
              <a:solidFill>
                <a:schemeClr val="tx1"/>
              </a:solidFill>
              <a:ea typeface="+mn-lt"/>
              <a:cs typeface="+mn-lt"/>
            </a:endParaRPr>
          </a:p>
          <a:p>
            <a:pPr marL="184785" lvl="1" indent="-123190">
              <a:buFont typeface="Courier New" panose="020B0604020202020204" pitchFamily="34" charset="0"/>
              <a:buChar char="o"/>
            </a:pP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class 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atorProvider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 {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endParaRPr lang="en-US"/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public int 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ByAge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Employee o1, Employee o2) {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     return o1.getAge().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To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o2.getAge());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}</a:t>
            </a:r>
            <a:endParaRPr lang="en-US" dirty="0">
              <a:solidFill>
                <a:schemeClr val="tx1"/>
              </a:solidFill>
            </a:endParaRPr>
          </a:p>
          <a:p>
            <a:endParaRPr lang="en-US"/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public int 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ByName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Employee o1, Employee o2) {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     return o1.getName().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To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o2.getName());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}</a:t>
            </a:r>
            <a:endParaRPr lang="en-US" dirty="0">
              <a:solidFill>
                <a:schemeClr val="tx1"/>
              </a:solidFill>
            </a:endParaRPr>
          </a:p>
          <a:p>
            <a:endParaRPr lang="en-US"/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public int 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BySalary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Employee o1, Employee o2) {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     return o1.getAge().</a:t>
            </a:r>
            <a:r>
              <a:rPr lang="en-US" sz="1100" dirty="0" err="1">
                <a:solidFill>
                  <a:schemeClr val="tx1"/>
                </a:solidFill>
                <a:ea typeface="+mn-lt"/>
                <a:cs typeface="+mn-lt"/>
              </a:rPr>
              <a:t>compareTo</a:t>
            </a:r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(o2.getAge());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/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    }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73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54E58F-0790-E8B1-1AA1-886F91F4F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324381"/>
            <a:ext cx="8201025" cy="5703072"/>
          </a:xfrm>
        </p:spPr>
        <p:txBody>
          <a:bodyPr vert="horz" lIns="0" tIns="0" rIns="0" bIns="0" rtlCol="0" anchor="t">
            <a:noAutofit/>
          </a:bodyPr>
          <a:lstStyle/>
          <a:p>
            <a:endParaRPr lang="en-US" sz="1100" dirty="0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/>
            <a:r>
              <a:rPr lang="en-US" b="1" dirty="0">
                <a:solidFill>
                  <a:schemeClr val="tx1"/>
                </a:solidFill>
                <a:latin typeface="Arial"/>
                <a:ea typeface="+mn-lt"/>
                <a:cs typeface="+mn-lt"/>
              </a:rPr>
              <a:t>3. Reference to a constructor.</a:t>
            </a:r>
            <a:endParaRPr lang="en-US" sz="1100" b="1" dirty="0">
              <a:solidFill>
                <a:schemeClr val="tx1"/>
              </a:solidFill>
              <a:latin typeface="Arial"/>
              <a:ea typeface="+mn-lt"/>
              <a:cs typeface="+mn-lt"/>
            </a:endParaRPr>
          </a:p>
          <a:p>
            <a:endParaRPr lang="en-US" sz="1200" b="1" dirty="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200" b="1" dirty="0">
                <a:solidFill>
                  <a:schemeClr val="tx1"/>
                </a:solidFill>
                <a:ea typeface="+mn-lt"/>
                <a:cs typeface="+mn-lt"/>
              </a:rPr>
              <a:t>Syntax:  </a:t>
            </a:r>
            <a:r>
              <a:rPr lang="en-US" sz="1200" b="1" dirty="0" err="1">
                <a:solidFill>
                  <a:schemeClr val="tx1"/>
                </a:solidFill>
                <a:ea typeface="+mn-lt"/>
                <a:cs typeface="+mn-lt"/>
              </a:rPr>
              <a:t>ClassName</a:t>
            </a:r>
            <a:r>
              <a:rPr lang="en-US" sz="1200" b="1" dirty="0">
                <a:solidFill>
                  <a:schemeClr val="tx1"/>
                </a:solidFill>
                <a:ea typeface="+mn-lt"/>
                <a:cs typeface="+mn-lt"/>
              </a:rPr>
              <a:t>::new</a:t>
            </a:r>
          </a:p>
          <a:p>
            <a:endParaRPr lang="en-US" sz="1100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100" b="1" dirty="0" err="1">
                <a:solidFill>
                  <a:schemeClr val="tx1"/>
                </a:solidFill>
                <a:ea typeface="+mn-lt"/>
                <a:cs typeface="+mn-lt"/>
              </a:rPr>
              <a:t>java.math.BigDecimal</a:t>
            </a:r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  <a:endParaRPr lang="en-US" sz="1100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100" b="1" dirty="0" err="1">
                <a:solidFill>
                  <a:schemeClr val="tx1"/>
                </a:solidFill>
                <a:ea typeface="+mn-lt"/>
                <a:cs typeface="+mn-lt"/>
              </a:rPr>
              <a:t>java.util.HashMap</a:t>
            </a:r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100" b="1" dirty="0" err="1">
                <a:solidFill>
                  <a:schemeClr val="tx1"/>
                </a:solidFill>
                <a:ea typeface="+mn-lt"/>
                <a:cs typeface="+mn-lt"/>
              </a:rPr>
              <a:t>java.util.Map</a:t>
            </a:r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import </a:t>
            </a:r>
            <a:r>
              <a:rPr lang="en-US" sz="1100" b="1" dirty="0" err="1">
                <a:solidFill>
                  <a:schemeClr val="tx1"/>
                </a:solidFill>
                <a:ea typeface="+mn-lt"/>
                <a:cs typeface="+mn-lt"/>
              </a:rPr>
              <a:t>java.util.function.Supplier</a:t>
            </a:r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public class MethodReference4 {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 public static void main(String[] </a:t>
            </a:r>
            <a:r>
              <a:rPr lang="en-US" sz="1100" b="1" dirty="0" err="1">
                <a:solidFill>
                  <a:schemeClr val="tx1"/>
                </a:solidFill>
                <a:ea typeface="+mn-lt"/>
                <a:cs typeface="+mn-lt"/>
              </a:rPr>
              <a:t>args</a:t>
            </a:r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) {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// lambda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Supplier&lt;Map&gt; obj1 = () -&gt; new HashMap();   // default HashMap() constructor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Map map1 = obj1.get()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// method reference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Supplier&lt;Map&gt; obj2 = HashMap::new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Map map2 = obj2.get()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// lambda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Supplier&lt;Invoice&gt; obj3 = () -&gt; new Invoice(); // default Invoice() constructor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Invoice invoice1 = obj3.get()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// method reference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Supplier&lt;Invoice&gt; obj4 = Invoice::new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     Invoice invoice2 = obj4.get();</a:t>
            </a:r>
            <a:endParaRPr lang="en-US" b="1" dirty="0">
              <a:solidFill>
                <a:schemeClr val="tx1"/>
              </a:solidFill>
              <a:cs typeface="Arial"/>
            </a:endParaRPr>
          </a:p>
          <a:p>
            <a:endParaRPr lang="en-US" b="1" dirty="0">
              <a:cs typeface="Arial"/>
            </a:endParaRPr>
          </a:p>
          <a:p>
            <a:r>
              <a:rPr lang="en-US" sz="1100" b="1" dirty="0">
                <a:solidFill>
                  <a:schemeClr val="tx1"/>
                </a:solidFill>
                <a:ea typeface="+mn-lt"/>
                <a:cs typeface="+mn-lt"/>
              </a:rPr>
              <a:t>    }</a:t>
            </a:r>
            <a:endParaRPr lang="en-US" dirty="0">
              <a:solidFill>
                <a:schemeClr val="tx1"/>
              </a:solidFill>
              <a:cs typeface="Arial" panose="020B0604020202020204"/>
            </a:endParaRPr>
          </a:p>
          <a:p>
            <a:endParaRPr lang="en-US" dirty="0"/>
          </a:p>
          <a:p>
            <a:r>
              <a:rPr lang="en-US" sz="1100" dirty="0">
                <a:solidFill>
                  <a:schemeClr val="tx1"/>
                </a:solidFill>
                <a:ea typeface="+mn-lt"/>
                <a:cs typeface="+mn-lt"/>
              </a:rPr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5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52A5F5-A053-A0CF-A4E2-F883DAD2C1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451381"/>
            <a:ext cx="8201025" cy="557607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class Invoice {</a:t>
            </a:r>
            <a:endParaRPr lang="en-US" dirty="0">
              <a:cs typeface="Arial" panose="020B0604020202020204"/>
            </a:endParaRPr>
          </a:p>
          <a:p>
            <a:endParaRPr lang="en-US"/>
          </a:p>
          <a:p>
            <a:r>
              <a:rPr lang="en-US" dirty="0">
                <a:ea typeface="+mn-lt"/>
                <a:cs typeface="+mn-lt"/>
              </a:rPr>
              <a:t>    String no;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    </a:t>
            </a:r>
            <a:r>
              <a:rPr lang="en-US" dirty="0" err="1">
                <a:ea typeface="+mn-lt"/>
                <a:cs typeface="+mn-lt"/>
              </a:rPr>
              <a:t>BigDecimal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unitPrice</a:t>
            </a:r>
            <a:r>
              <a:rPr lang="en-US" dirty="0">
                <a:ea typeface="+mn-lt"/>
                <a:cs typeface="+mn-lt"/>
              </a:rPr>
              <a:t>;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    Integer qty;</a:t>
            </a:r>
            <a:endParaRPr lang="en-US"/>
          </a:p>
          <a:p>
            <a:endParaRPr lang="en-US"/>
          </a:p>
          <a:p>
            <a:r>
              <a:rPr lang="en-US" dirty="0">
                <a:ea typeface="+mn-lt"/>
                <a:cs typeface="+mn-lt"/>
              </a:rPr>
              <a:t>    public Invoice() {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    }</a:t>
            </a:r>
            <a:endParaRPr lang="en-US"/>
          </a:p>
          <a:p>
            <a:endParaRPr lang="en-US"/>
          </a:p>
          <a:p>
            <a:r>
              <a:rPr lang="en-US" dirty="0">
                <a:ea typeface="+mn-lt"/>
                <a:cs typeface="+mn-lt"/>
              </a:rPr>
              <a:t>    //... generated by IDE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    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69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DD74676-F1FF-F18F-B0F7-BCE8FA88EB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D74676-F1FF-F18F-B0F7-BCE8FA88E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65FF54F-F5D4-E59E-7221-566F660768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68B4745-B863-B59F-5B9A-A631D8C2179C}"/>
              </a:ext>
            </a:extLst>
          </p:cNvPr>
          <p:cNvSpPr txBox="1"/>
          <p:nvPr/>
        </p:nvSpPr>
        <p:spPr>
          <a:xfrm>
            <a:off x="381000" y="1944844"/>
            <a:ext cx="576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Exception</a:t>
            </a:r>
            <a:r>
              <a:rPr lang="en-US" sz="2400" b="1" spc="-60" dirty="0"/>
              <a:t> </a:t>
            </a:r>
            <a:r>
              <a:rPr lang="en-US" sz="2400" b="1" spc="-10" dirty="0"/>
              <a:t>Handling</a:t>
            </a:r>
            <a:endParaRPr lang="en-IN" sz="1100" b="1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A372E9-9E13-6FB6-26DC-D2B451D9647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3C5CF33-B63D-E46C-4E3F-03731976C6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1187A8D-3986-EED6-F5E3-BADA623053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C39E554-2599-7B2F-65A6-B5E933BD11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785484C-AF2F-C0FB-79E0-5DBBF0A768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35F1DBC-5E0C-A7DE-9D4A-0FE99EDD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791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00BAA9-64B8-7501-4D34-5C697E197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C170BF4-EA0D-054E-A656-52358E6B6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70BF4-EA0D-054E-A656-52358E6B6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16324BD-9CAF-895C-2790-F6FD55A688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21EA555-2E48-6806-6ABC-562961FD268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63CDDDE-267B-908F-8230-702AA3920A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B26D69D-75A5-F680-4D52-DC60AD036F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3DC0EBC-3A83-6253-03D3-A3A86009324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938319B-385B-88B8-BDC0-28EB29CD13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130DEF6-0E12-3434-608C-78B9A53C27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230547F-5B63-662B-F9A8-D1EE5C670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Contents</a:t>
            </a:r>
            <a:r>
              <a:rPr lang="en-US" sz="2000" spc="-10" dirty="0"/>
              <a:t>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ED2041-D4FC-3888-BD8E-9EB977ACDE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298450" indent="-285750">
              <a:spcBef>
                <a:spcPts val="775"/>
              </a:spcBef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en-US" sz="1600" dirty="0"/>
              <a:t>Introduction to interfaces  </a:t>
            </a:r>
          </a:p>
          <a:p>
            <a:pPr marL="298450" indent="-285750">
              <a:spcBef>
                <a:spcPts val="775"/>
              </a:spcBef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en-US" sz="1600" dirty="0"/>
              <a:t>Syntax  </a:t>
            </a:r>
          </a:p>
          <a:p>
            <a:pPr marL="298450" indent="-285750">
              <a:spcBef>
                <a:spcPts val="775"/>
              </a:spcBef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en-US" sz="1600" dirty="0"/>
              <a:t>Why Interface?  </a:t>
            </a:r>
          </a:p>
          <a:p>
            <a:pPr marL="298450" indent="-285750">
              <a:spcBef>
                <a:spcPts val="775"/>
              </a:spcBef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en-US" sz="1600" dirty="0"/>
              <a:t>Extending Interface </a:t>
            </a:r>
          </a:p>
          <a:p>
            <a:pPr marL="298450" indent="-285750">
              <a:spcBef>
                <a:spcPts val="775"/>
              </a:spcBef>
              <a:buFont typeface="Arial" panose="020B0604020202020204" pitchFamily="34" charset="0"/>
              <a:buChar char="•"/>
              <a:tabLst>
                <a:tab pos="355600" algn="l"/>
              </a:tabLst>
            </a:pPr>
            <a:r>
              <a:rPr lang="en-US" sz="1600" dirty="0"/>
              <a:t>Default Methods </a:t>
            </a:r>
            <a:endParaRPr lang="en-US" sz="16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0993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Contents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775"/>
              </a:spcBef>
              <a:buChar char="•"/>
              <a:tabLst>
                <a:tab pos="355600" algn="l"/>
              </a:tabLst>
            </a:pPr>
            <a:r>
              <a:rPr lang="en-US" dirty="0"/>
              <a:t>Define</a:t>
            </a:r>
            <a:r>
              <a:rPr lang="en-US" spc="-90" dirty="0"/>
              <a:t> </a:t>
            </a:r>
            <a:r>
              <a:rPr lang="en-US" spc="-10" dirty="0"/>
              <a:t>Exception</a:t>
            </a: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dirty="0"/>
              <a:t>Checked</a:t>
            </a:r>
            <a:r>
              <a:rPr lang="en-US" spc="-100" dirty="0"/>
              <a:t> </a:t>
            </a:r>
            <a:r>
              <a:rPr lang="en-US" dirty="0"/>
              <a:t>and</a:t>
            </a:r>
            <a:r>
              <a:rPr lang="en-US" spc="-80" dirty="0"/>
              <a:t> </a:t>
            </a:r>
            <a:r>
              <a:rPr lang="en-US" dirty="0"/>
              <a:t>Unchecked</a:t>
            </a:r>
            <a:r>
              <a:rPr lang="en-US" spc="-85" dirty="0"/>
              <a:t> </a:t>
            </a:r>
            <a:r>
              <a:rPr lang="en-US" spc="-10" dirty="0"/>
              <a:t>Exception</a:t>
            </a: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dirty="0"/>
              <a:t>Keywords</a:t>
            </a:r>
            <a:r>
              <a:rPr lang="en-US" spc="-80" dirty="0"/>
              <a:t> </a:t>
            </a:r>
            <a:r>
              <a:rPr lang="en-US" dirty="0"/>
              <a:t>for</a:t>
            </a:r>
            <a:r>
              <a:rPr lang="en-US" spc="-95" dirty="0"/>
              <a:t> </a:t>
            </a:r>
            <a:r>
              <a:rPr lang="en-US" dirty="0"/>
              <a:t>handling</a:t>
            </a:r>
            <a:r>
              <a:rPr lang="en-US" spc="-80" dirty="0"/>
              <a:t> </a:t>
            </a:r>
            <a:r>
              <a:rPr lang="en-US" spc="-10" dirty="0"/>
              <a:t>Exception</a:t>
            </a:r>
          </a:p>
          <a:p>
            <a:pPr marL="355600" indent="-342900">
              <a:lnSpc>
                <a:spcPct val="100000"/>
              </a:lnSpc>
              <a:spcBef>
                <a:spcPts val="670"/>
              </a:spcBef>
              <a:buChar char="•"/>
              <a:tabLst>
                <a:tab pos="355600" algn="l"/>
              </a:tabLst>
            </a:pPr>
            <a:r>
              <a:rPr lang="en-US" dirty="0"/>
              <a:t>throw</a:t>
            </a:r>
            <a:r>
              <a:rPr lang="en-US" spc="-65" dirty="0"/>
              <a:t> </a:t>
            </a:r>
            <a:r>
              <a:rPr lang="en-US" dirty="0"/>
              <a:t>and</a:t>
            </a:r>
            <a:r>
              <a:rPr lang="en-US" spc="-50" dirty="0"/>
              <a:t> </a:t>
            </a:r>
            <a:r>
              <a:rPr lang="en-US" spc="-10" dirty="0"/>
              <a:t>throws</a:t>
            </a: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dirty="0"/>
              <a:t>User</a:t>
            </a:r>
            <a:r>
              <a:rPr lang="en-US" spc="-80" dirty="0"/>
              <a:t> </a:t>
            </a:r>
            <a:r>
              <a:rPr lang="en-US" dirty="0"/>
              <a:t>defined</a:t>
            </a:r>
            <a:r>
              <a:rPr lang="en-US" spc="-65" dirty="0"/>
              <a:t> </a:t>
            </a:r>
            <a:r>
              <a:rPr lang="en-US" spc="-10" dirty="0"/>
              <a:t>Exception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b="0" i="0" dirty="0">
              <a:solidFill>
                <a:srgbClr val="273239"/>
              </a:solidFill>
              <a:effectLst/>
              <a:latin typeface="inter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7319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 dirty="0"/>
              <a:t>What</a:t>
            </a:r>
            <a:r>
              <a:rPr lang="en-US" sz="2000" spc="-100" dirty="0"/>
              <a:t> </a:t>
            </a:r>
            <a:r>
              <a:rPr lang="en-US" sz="2000" dirty="0"/>
              <a:t>is</a:t>
            </a:r>
            <a:r>
              <a:rPr lang="en-US" sz="2000" spc="-110" dirty="0"/>
              <a:t> </a:t>
            </a:r>
            <a:r>
              <a:rPr lang="en-US" sz="2000" dirty="0"/>
              <a:t>Exception</a:t>
            </a:r>
            <a:r>
              <a:rPr lang="en-US" sz="2000" spc="-1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bnormal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ditio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9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isrupt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rmal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low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of </a:t>
            </a:r>
            <a:r>
              <a:rPr lang="en-US" sz="1600" spc="-10" dirty="0">
                <a:latin typeface="Arial"/>
                <a:cs typeface="Arial"/>
              </a:rPr>
              <a:t>execution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7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ogical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rror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,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bas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rror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like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1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Connecting</a:t>
            </a:r>
            <a:r>
              <a:rPr lang="en-US" sz="1600" spc="-7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th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database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Attempting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o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ccess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ile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does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ist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Inserting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n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element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to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n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array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position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s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spc="-25" dirty="0">
                <a:latin typeface="Carlito"/>
                <a:cs typeface="Carlito"/>
              </a:rPr>
              <a:t>its</a:t>
            </a:r>
            <a:endParaRPr lang="en-US" sz="1600" dirty="0">
              <a:latin typeface="Carlito"/>
              <a:cs typeface="Carlito"/>
            </a:endParaRPr>
          </a:p>
          <a:p>
            <a:pPr marL="756285">
              <a:lnSpc>
                <a:spcPct val="100000"/>
              </a:lnSpc>
            </a:pPr>
            <a:r>
              <a:rPr lang="en-US" sz="1600" spc="-10" dirty="0">
                <a:latin typeface="Carlito"/>
                <a:cs typeface="Carlito"/>
              </a:rPr>
              <a:t>bounds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84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Performing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ome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mathematical</a:t>
            </a:r>
            <a:r>
              <a:rPr lang="en-US" sz="1600" spc="-1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peration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s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permit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7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Declaring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n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array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using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negative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values</a:t>
            </a: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245650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Unhandled</a:t>
            </a:r>
            <a:r>
              <a:rPr lang="en-US" sz="2000" spc="-215" dirty="0"/>
              <a:t> </a:t>
            </a:r>
            <a:r>
              <a:rPr lang="en-US" sz="2000" spc="-10" dirty="0"/>
              <a:t>Exceptions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ncaught</a:t>
            </a:r>
            <a:r>
              <a:rPr lang="en-US" sz="1600" spc="-1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s</a:t>
            </a:r>
            <a:endParaRPr lang="en-US" sz="1600" dirty="0">
              <a:latin typeface="Arial"/>
              <a:cs typeface="Arial"/>
            </a:endParaRPr>
          </a:p>
          <a:p>
            <a:pPr marL="755015" lvl="1" indent="-285115">
              <a:lnSpc>
                <a:spcPct val="100000"/>
              </a:lnSpc>
              <a:spcBef>
                <a:spcPts val="500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Runtime</a:t>
            </a:r>
            <a:r>
              <a:rPr lang="en-US" sz="1600" spc="-60" dirty="0">
                <a:latin typeface="Carlito"/>
                <a:cs typeface="Carlito"/>
              </a:rPr>
              <a:t> </a:t>
            </a:r>
            <a:r>
              <a:rPr lang="en-US" sz="1600" spc="-20" dirty="0">
                <a:latin typeface="Carlito"/>
                <a:cs typeface="Carlito"/>
              </a:rPr>
              <a:t>system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rows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is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</a:t>
            </a:r>
            <a:endParaRPr lang="en-US" sz="1600" dirty="0">
              <a:latin typeface="Carlito"/>
              <a:cs typeface="Carlito"/>
            </a:endParaRPr>
          </a:p>
          <a:p>
            <a:pPr marL="755015" lvl="1" indent="-285115">
              <a:lnSpc>
                <a:spcPct val="100000"/>
              </a:lnSpc>
              <a:spcBef>
                <a:spcPts val="575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Default</a:t>
            </a:r>
            <a:r>
              <a:rPr lang="en-US" sz="1600" spc="-8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handler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f</a:t>
            </a:r>
            <a:r>
              <a:rPr lang="en-US" sz="1600" spc="-8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java</a:t>
            </a:r>
            <a:r>
              <a:rPr lang="en-US" sz="1600" spc="-8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runtime</a:t>
            </a:r>
            <a:r>
              <a:rPr lang="en-US" sz="1600" spc="-8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system(JVM)</a:t>
            </a:r>
            <a:r>
              <a:rPr lang="en-US" sz="1600" spc="-9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handles</a:t>
            </a:r>
            <a:endParaRPr lang="en-US" sz="1600" dirty="0">
              <a:latin typeface="Carlito"/>
              <a:cs typeface="Carlito"/>
            </a:endParaRPr>
          </a:p>
          <a:p>
            <a:pPr marL="755015" lvl="1" indent="-285115">
              <a:lnSpc>
                <a:spcPct val="100000"/>
              </a:lnSpc>
              <a:spcBef>
                <a:spcPts val="575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Displays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tring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describing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</a:t>
            </a:r>
            <a:endParaRPr lang="en-US" sz="1600" dirty="0">
              <a:latin typeface="Carlito"/>
              <a:cs typeface="Carlito"/>
            </a:endParaRPr>
          </a:p>
          <a:p>
            <a:pPr marL="1224280" lvl="2" indent="-297180">
              <a:lnSpc>
                <a:spcPct val="100000"/>
              </a:lnSpc>
              <a:spcBef>
                <a:spcPts val="575"/>
              </a:spcBef>
              <a:buFont typeface="Arial"/>
              <a:buChar char="•"/>
              <a:tabLst>
                <a:tab pos="1224280" algn="l"/>
              </a:tabLst>
            </a:pPr>
            <a:r>
              <a:rPr lang="en-US" sz="1600" dirty="0">
                <a:latin typeface="Carlito"/>
                <a:cs typeface="Carlito"/>
              </a:rPr>
              <a:t>Prints</a:t>
            </a:r>
            <a:r>
              <a:rPr lang="en-US" sz="1600" spc="-8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tack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trace</a:t>
            </a:r>
            <a:endParaRPr lang="en-US" sz="1600" dirty="0">
              <a:latin typeface="Carlito"/>
              <a:cs typeface="Carlito"/>
            </a:endParaRPr>
          </a:p>
          <a:p>
            <a:pPr marL="1224280" lvl="2" indent="-297180">
              <a:lnSpc>
                <a:spcPct val="100000"/>
              </a:lnSpc>
              <a:spcBef>
                <a:spcPts val="580"/>
              </a:spcBef>
              <a:buFont typeface="Arial"/>
              <a:buChar char="•"/>
              <a:tabLst>
                <a:tab pos="1224280" algn="l"/>
              </a:tabLst>
            </a:pPr>
            <a:r>
              <a:rPr lang="en-US" sz="1600" spc="-30" dirty="0">
                <a:latin typeface="Carlito"/>
                <a:cs typeface="Carlito"/>
              </a:rPr>
              <a:t>Terminates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program</a:t>
            </a:r>
            <a:endParaRPr lang="en-US" sz="1600" dirty="0">
              <a:latin typeface="Carlito"/>
              <a:cs typeface="Carlito"/>
            </a:endParaRPr>
          </a:p>
          <a:p>
            <a:pPr marL="754380" marR="5080" lvl="1" indent="-285115">
              <a:lnSpc>
                <a:spcPct val="100000"/>
              </a:lnSpc>
              <a:spcBef>
                <a:spcPts val="57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Stack</a:t>
            </a:r>
            <a:r>
              <a:rPr lang="en-US" sz="1600" spc="-9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race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tores</a:t>
            </a:r>
            <a:r>
              <a:rPr lang="en-US" sz="1600" spc="-7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equence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f</a:t>
            </a:r>
            <a:r>
              <a:rPr lang="en-US" sz="1600" spc="-7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method</a:t>
            </a:r>
            <a:r>
              <a:rPr lang="en-US" sz="1600" spc="-7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invocations</a:t>
            </a:r>
            <a:r>
              <a:rPr lang="en-US" sz="1600" spc="-7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spc="-25" dirty="0">
                <a:latin typeface="Carlito"/>
                <a:cs typeface="Carlito"/>
              </a:rPr>
              <a:t>led </a:t>
            </a:r>
            <a:r>
              <a:rPr lang="en-US" sz="1600" dirty="0">
                <a:latin typeface="Carlito"/>
                <a:cs typeface="Carlito"/>
              </a:rPr>
              <a:t>to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rror</a:t>
            </a:r>
            <a:endParaRPr lang="en-US" sz="1600" dirty="0">
              <a:latin typeface="Carlito"/>
              <a:cs typeface="Carlito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149707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Example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ts val="2510"/>
              </a:lnSpc>
              <a:spcBef>
                <a:spcPts val="95"/>
              </a:spcBef>
              <a:tabLst>
                <a:tab pos="1089660" algn="l"/>
                <a:tab pos="1859280" algn="l"/>
              </a:tabLst>
            </a:pPr>
            <a:r>
              <a:rPr lang="en-US" sz="1600" b="1" spc="220" dirty="0">
                <a:solidFill>
                  <a:srgbClr val="FF0000"/>
                </a:solidFill>
                <a:latin typeface="Trebuchet MS"/>
                <a:cs typeface="Trebuchet MS"/>
              </a:rPr>
              <a:t>class</a:t>
            </a:r>
            <a:r>
              <a:rPr lang="en-US" sz="1600" b="1" dirty="0">
                <a:solidFill>
                  <a:srgbClr val="FF0000"/>
                </a:solidFill>
                <a:latin typeface="Trebuchet MS"/>
                <a:cs typeface="Trebuchet MS"/>
              </a:rPr>
              <a:t>	</a:t>
            </a:r>
            <a:r>
              <a:rPr lang="en-US" sz="1600" b="1" spc="-20" dirty="0">
                <a:solidFill>
                  <a:srgbClr val="FF0000"/>
                </a:solidFill>
                <a:latin typeface="Trebuchet MS"/>
                <a:cs typeface="Trebuchet MS"/>
              </a:rPr>
              <a:t>Demo</a:t>
            </a:r>
            <a:r>
              <a:rPr lang="en-US" sz="1600" b="1" dirty="0">
                <a:solidFill>
                  <a:srgbClr val="FF0000"/>
                </a:solidFill>
                <a:latin typeface="Trebuchet MS"/>
                <a:cs typeface="Trebuchet MS"/>
              </a:rPr>
              <a:t>	</a:t>
            </a: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{</a:t>
            </a:r>
            <a:endParaRPr lang="en-US" sz="1600" dirty="0">
              <a:latin typeface="Trebuchet MS"/>
              <a:cs typeface="Trebuchet MS"/>
            </a:endParaRPr>
          </a:p>
          <a:p>
            <a:pPr marL="355600">
              <a:lnSpc>
                <a:spcPts val="2510"/>
              </a:lnSpc>
              <a:tabLst>
                <a:tab pos="1433195" algn="l"/>
                <a:tab pos="2510155" algn="l"/>
                <a:tab pos="3279775" algn="l"/>
                <a:tab pos="5127625" algn="l"/>
                <a:tab pos="6359525" algn="l"/>
              </a:tabLst>
            </a:pPr>
            <a:r>
              <a:rPr lang="en-US" sz="1600" b="1" spc="145" dirty="0">
                <a:solidFill>
                  <a:srgbClr val="FF0000"/>
                </a:solidFill>
                <a:latin typeface="Trebuchet MS"/>
                <a:cs typeface="Trebuchet MS"/>
              </a:rPr>
              <a:t>Public </a:t>
            </a:r>
            <a:r>
              <a:rPr lang="en-US" sz="1600" b="1" spc="250" dirty="0">
                <a:solidFill>
                  <a:srgbClr val="FF0000"/>
                </a:solidFill>
                <a:latin typeface="Trebuchet MS"/>
                <a:cs typeface="Trebuchet MS"/>
              </a:rPr>
              <a:t>static </a:t>
            </a:r>
            <a:r>
              <a:rPr lang="en-US" sz="1600" b="1" spc="95" dirty="0">
                <a:solidFill>
                  <a:srgbClr val="FF0000"/>
                </a:solidFill>
                <a:latin typeface="Trebuchet MS"/>
                <a:cs typeface="Trebuchet MS"/>
              </a:rPr>
              <a:t>void</a:t>
            </a:r>
            <a:r>
              <a:rPr lang="en-US" sz="1600" b="1" dirty="0">
                <a:solidFill>
                  <a:srgbClr val="FF0000"/>
                </a:solidFill>
                <a:latin typeface="Trebuchet MS"/>
                <a:cs typeface="Trebuchet MS"/>
              </a:rPr>
              <a:t>	</a:t>
            </a:r>
            <a:r>
              <a:rPr lang="en-US" sz="1600" b="1" spc="114" dirty="0">
                <a:solidFill>
                  <a:srgbClr val="FF0000"/>
                </a:solidFill>
                <a:latin typeface="Trebuchet MS"/>
                <a:cs typeface="Trebuchet MS"/>
              </a:rPr>
              <a:t>main(String </a:t>
            </a:r>
            <a:r>
              <a:rPr lang="en-US" sz="1600" b="1" spc="229" dirty="0" err="1">
                <a:solidFill>
                  <a:srgbClr val="FF0000"/>
                </a:solidFill>
                <a:latin typeface="Trebuchet MS"/>
                <a:cs typeface="Trebuchet MS"/>
              </a:rPr>
              <a:t>args</a:t>
            </a:r>
            <a:r>
              <a:rPr lang="en-US" sz="1600" b="1" spc="229" dirty="0">
                <a:solidFill>
                  <a:srgbClr val="FF0000"/>
                </a:solidFill>
                <a:latin typeface="Trebuchet MS"/>
                <a:cs typeface="Trebuchet MS"/>
              </a:rPr>
              <a:t>[]) </a:t>
            </a: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{</a:t>
            </a:r>
            <a:endParaRPr lang="en-US" sz="1600" dirty="0">
              <a:latin typeface="Trebuchet MS"/>
              <a:cs typeface="Trebuchet MS"/>
            </a:endParaRPr>
          </a:p>
          <a:p>
            <a:pPr marL="355600">
              <a:lnSpc>
                <a:spcPts val="2510"/>
              </a:lnSpc>
              <a:spcBef>
                <a:spcPts val="95"/>
              </a:spcBef>
            </a:pP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int x=0;</a:t>
            </a:r>
          </a:p>
          <a:p>
            <a:pPr marL="355600">
              <a:lnSpc>
                <a:spcPts val="2510"/>
              </a:lnSpc>
              <a:spcBef>
                <a:spcPts val="95"/>
              </a:spcBef>
            </a:pP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int y=10/x;</a:t>
            </a:r>
          </a:p>
          <a:p>
            <a:pPr marL="355600">
              <a:lnSpc>
                <a:spcPts val="2510"/>
              </a:lnSpc>
              <a:spcBef>
                <a:spcPts val="95"/>
              </a:spcBef>
            </a:pPr>
            <a:r>
              <a:rPr lang="en-US" sz="1600" b="1" spc="80" dirty="0" err="1">
                <a:solidFill>
                  <a:srgbClr val="FF0000"/>
                </a:solidFill>
                <a:latin typeface="Trebuchet MS"/>
                <a:cs typeface="Trebuchet MS"/>
              </a:rPr>
              <a:t>System.out.println</a:t>
            </a:r>
            <a:r>
              <a:rPr lang="en-US" sz="1600" b="1" spc="80" dirty="0">
                <a:solidFill>
                  <a:srgbClr val="FF0000"/>
                </a:solidFill>
                <a:latin typeface="Courier New"/>
                <a:cs typeface="Courier New"/>
              </a:rPr>
              <a:t>(“y = “+y);</a:t>
            </a:r>
            <a:endParaRPr lang="en-US" sz="1600" dirty="0">
              <a:latin typeface="Courier New"/>
              <a:cs typeface="Courier New"/>
            </a:endParaRPr>
          </a:p>
          <a:p>
            <a:pPr marL="355600">
              <a:lnSpc>
                <a:spcPts val="2510"/>
              </a:lnSpc>
              <a:spcBef>
                <a:spcPts val="95"/>
              </a:spcBef>
            </a:pP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}</a:t>
            </a:r>
            <a:endParaRPr lang="en-US" sz="1600" dirty="0">
              <a:latin typeface="Trebuchet MS"/>
              <a:cs typeface="Trebuchet MS"/>
            </a:endParaRPr>
          </a:p>
          <a:p>
            <a:pPr marL="166370">
              <a:lnSpc>
                <a:spcPts val="2510"/>
              </a:lnSpc>
            </a:pPr>
            <a:r>
              <a:rPr lang="en-US" sz="1600" b="1" spc="204" dirty="0">
                <a:solidFill>
                  <a:srgbClr val="FF0000"/>
                </a:solidFill>
                <a:latin typeface="Trebuchet MS"/>
                <a:cs typeface="Trebuchet MS"/>
              </a:rPr>
              <a:t>}</a:t>
            </a:r>
            <a:endParaRPr lang="en-US" sz="1600" dirty="0">
              <a:latin typeface="Trebuchet MS"/>
              <a:cs typeface="Trebuchet MS"/>
            </a:endParaRPr>
          </a:p>
          <a:p>
            <a:pPr marL="355600" indent="-342900">
              <a:lnSpc>
                <a:spcPts val="2510"/>
              </a:lnSpc>
              <a:spcBef>
                <a:spcPts val="211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gram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iles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fine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70000"/>
              </a:lnSpc>
              <a:spcBef>
                <a:spcPts val="66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When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ecut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Java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un-</a:t>
            </a:r>
            <a:r>
              <a:rPr lang="en-US" sz="1600" spc="-20" dirty="0">
                <a:latin typeface="Arial"/>
                <a:cs typeface="Arial"/>
              </a:rPr>
              <a:t>time-</a:t>
            </a:r>
            <a:r>
              <a:rPr lang="en-US" sz="1600" dirty="0">
                <a:latin typeface="Arial"/>
                <a:cs typeface="Arial"/>
              </a:rPr>
              <a:t>system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ll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nerat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an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ts val="2375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isplay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llowing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utpu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nsole</a:t>
            </a:r>
            <a:endParaRPr lang="en-US" sz="1600" dirty="0">
              <a:latin typeface="Arial"/>
              <a:cs typeface="Arial"/>
            </a:endParaRPr>
          </a:p>
          <a:p>
            <a:pPr marL="12700" marR="2242185">
              <a:lnSpc>
                <a:spcPts val="2380"/>
              </a:lnSpc>
              <a:spcBef>
                <a:spcPts val="2410"/>
              </a:spcBef>
            </a:pPr>
            <a:r>
              <a:rPr lang="en-US" sz="1600" b="1" i="1" spc="-10" dirty="0" err="1">
                <a:latin typeface="Arial"/>
                <a:cs typeface="Arial"/>
              </a:rPr>
              <a:t>java.lang.ArithmeticException</a:t>
            </a:r>
            <a:r>
              <a:rPr lang="en-US" sz="1600" b="1" i="1" spc="-10" dirty="0">
                <a:latin typeface="Arial"/>
                <a:cs typeface="Arial"/>
              </a:rPr>
              <a:t>:</a:t>
            </a:r>
            <a:r>
              <a:rPr lang="en-US" sz="1600" b="1" i="1" spc="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/</a:t>
            </a:r>
            <a:r>
              <a:rPr lang="en-US" sz="1600" b="1" i="1" spc="-1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y</a:t>
            </a:r>
            <a:r>
              <a:rPr lang="en-US" sz="1600" b="1" i="1" spc="-20" dirty="0">
                <a:latin typeface="Arial"/>
                <a:cs typeface="Arial"/>
              </a:rPr>
              <a:t> zero </a:t>
            </a:r>
            <a:r>
              <a:rPr lang="en-US" sz="1600" b="1" i="1" dirty="0">
                <a:latin typeface="Arial"/>
                <a:cs typeface="Arial"/>
              </a:rPr>
              <a:t>at</a:t>
            </a:r>
            <a:r>
              <a:rPr lang="en-US" sz="1600" b="1" i="1" spc="-5" dirty="0">
                <a:latin typeface="Arial"/>
                <a:cs typeface="Arial"/>
              </a:rPr>
              <a:t> </a:t>
            </a:r>
            <a:r>
              <a:rPr lang="en-US" sz="1600" b="1" i="1" spc="-10" dirty="0" err="1">
                <a:latin typeface="Arial"/>
                <a:cs typeface="Arial"/>
              </a:rPr>
              <a:t>Demo.main</a:t>
            </a: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60704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065" marR="74930">
              <a:lnSpc>
                <a:spcPct val="100000"/>
              </a:lnSpc>
              <a:spcBef>
                <a:spcPts val="100"/>
              </a:spcBef>
              <a:buNone/>
              <a:tabLst>
                <a:tab pos="355600" algn="l"/>
              </a:tabLst>
            </a:pPr>
            <a:r>
              <a:rPr lang="en-US" sz="2000" dirty="0">
                <a:latin typeface="Carlito"/>
                <a:cs typeface="Carlito"/>
              </a:rPr>
              <a:t>Hierarchy</a:t>
            </a: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520AC2CF-BA88-7C31-C90B-6FD66F5E60A3}"/>
              </a:ext>
            </a:extLst>
          </p:cNvPr>
          <p:cNvSpPr txBox="1">
            <a:spLocks/>
          </p:cNvSpPr>
          <p:nvPr/>
        </p:nvSpPr>
        <p:spPr>
          <a:xfrm>
            <a:off x="264795" y="685800"/>
            <a:ext cx="7700009" cy="319959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000" dirty="0"/>
              <a:t>Hierarchy</a:t>
            </a:r>
            <a:r>
              <a:rPr lang="en-US" sz="2000" spc="-75" dirty="0"/>
              <a:t> </a:t>
            </a:r>
            <a:r>
              <a:rPr lang="en-US" sz="2000" dirty="0"/>
              <a:t>of</a:t>
            </a:r>
            <a:r>
              <a:rPr lang="en-US" sz="2000" spc="-100" dirty="0"/>
              <a:t> </a:t>
            </a:r>
            <a:r>
              <a:rPr lang="en-US" sz="2000" spc="-10" dirty="0"/>
              <a:t>Exception :</a:t>
            </a:r>
          </a:p>
        </p:txBody>
      </p:sp>
      <p:sp>
        <p:nvSpPr>
          <p:cNvPr id="54" name="object 3">
            <a:extLst>
              <a:ext uri="{FF2B5EF4-FFF2-40B4-BE49-F238E27FC236}">
                <a16:creationId xmlns:a16="http://schemas.microsoft.com/office/drawing/2014/main" id="{6F23CB52-B9AE-ADB8-3228-9958A9EEC040}"/>
              </a:ext>
            </a:extLst>
          </p:cNvPr>
          <p:cNvSpPr txBox="1"/>
          <p:nvPr/>
        </p:nvSpPr>
        <p:spPr>
          <a:xfrm>
            <a:off x="3352800" y="1600200"/>
            <a:ext cx="1905000" cy="5334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123189" rIns="0" bIns="0" rtlCol="0">
            <a:spAutoFit/>
          </a:bodyPr>
          <a:lstStyle/>
          <a:p>
            <a:pPr marL="421640">
              <a:lnSpc>
                <a:spcPct val="100000"/>
              </a:lnSpc>
              <a:spcBef>
                <a:spcPts val="969"/>
              </a:spcBef>
            </a:pPr>
            <a:r>
              <a:rPr sz="1800" spc="-10" dirty="0">
                <a:latin typeface="Arial"/>
                <a:cs typeface="Arial"/>
              </a:rPr>
              <a:t>Throwabl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5" name="object 4">
            <a:extLst>
              <a:ext uri="{FF2B5EF4-FFF2-40B4-BE49-F238E27FC236}">
                <a16:creationId xmlns:a16="http://schemas.microsoft.com/office/drawing/2014/main" id="{D85C6AF8-56E6-AFAA-511D-6519A3E7729E}"/>
              </a:ext>
            </a:extLst>
          </p:cNvPr>
          <p:cNvSpPr txBox="1"/>
          <p:nvPr/>
        </p:nvSpPr>
        <p:spPr>
          <a:xfrm>
            <a:off x="1752600" y="2590800"/>
            <a:ext cx="2362200" cy="5334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123825" rIns="0" bIns="0" rtlCol="0">
            <a:spAutoFit/>
          </a:bodyPr>
          <a:lstStyle/>
          <a:p>
            <a:pPr marL="299085">
              <a:lnSpc>
                <a:spcPct val="100000"/>
              </a:lnSpc>
              <a:spcBef>
                <a:spcPts val="975"/>
              </a:spcBef>
            </a:pPr>
            <a:r>
              <a:rPr sz="1800" spc="-10" dirty="0">
                <a:latin typeface="Arial"/>
                <a:cs typeface="Arial"/>
              </a:rPr>
              <a:t>Error(unchecked)</a:t>
            </a:r>
            <a:endParaRPr sz="1800">
              <a:latin typeface="Arial"/>
              <a:cs typeface="Arial"/>
            </a:endParaRPr>
          </a:p>
        </p:txBody>
      </p:sp>
      <p:sp>
        <p:nvSpPr>
          <p:cNvPr id="56" name="object 5">
            <a:extLst>
              <a:ext uri="{FF2B5EF4-FFF2-40B4-BE49-F238E27FC236}">
                <a16:creationId xmlns:a16="http://schemas.microsoft.com/office/drawing/2014/main" id="{AD303D12-EC7F-73AF-6D49-70C838788B6C}"/>
              </a:ext>
            </a:extLst>
          </p:cNvPr>
          <p:cNvSpPr txBox="1"/>
          <p:nvPr/>
        </p:nvSpPr>
        <p:spPr>
          <a:xfrm>
            <a:off x="5105400" y="2514600"/>
            <a:ext cx="1524000" cy="4572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85725" rIns="0" bIns="0" rtlCol="0">
            <a:spAutoFit/>
          </a:bodyPr>
          <a:lstStyle/>
          <a:p>
            <a:pPr marL="261620">
              <a:lnSpc>
                <a:spcPct val="100000"/>
              </a:lnSpc>
              <a:spcBef>
                <a:spcPts val="675"/>
              </a:spcBef>
            </a:pPr>
            <a:r>
              <a:rPr sz="1800" spc="-10" dirty="0">
                <a:latin typeface="Arial"/>
                <a:cs typeface="Arial"/>
              </a:rPr>
              <a:t>Excep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57" name="object 6">
            <a:extLst>
              <a:ext uri="{FF2B5EF4-FFF2-40B4-BE49-F238E27FC236}">
                <a16:creationId xmlns:a16="http://schemas.microsoft.com/office/drawing/2014/main" id="{21979782-4E25-5AAF-1541-1D8EE75F279B}"/>
              </a:ext>
            </a:extLst>
          </p:cNvPr>
          <p:cNvSpPr txBox="1"/>
          <p:nvPr/>
        </p:nvSpPr>
        <p:spPr>
          <a:xfrm>
            <a:off x="5257800" y="5562600"/>
            <a:ext cx="2819400" cy="6096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25400" rIns="0" bIns="0" rtlCol="0">
            <a:spAutoFit/>
          </a:bodyPr>
          <a:lstStyle/>
          <a:p>
            <a:pPr marL="142875" marR="132715" indent="259079">
              <a:lnSpc>
                <a:spcPct val="100000"/>
              </a:lnSpc>
              <a:spcBef>
                <a:spcPts val="200"/>
              </a:spcBef>
            </a:pPr>
            <a:r>
              <a:rPr sz="1800" spc="-10" dirty="0">
                <a:latin typeface="Arial"/>
                <a:cs typeface="Arial"/>
              </a:rPr>
              <a:t>ArithmeticException NumberFormatExcep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58" name="object 7">
            <a:extLst>
              <a:ext uri="{FF2B5EF4-FFF2-40B4-BE49-F238E27FC236}">
                <a16:creationId xmlns:a16="http://schemas.microsoft.com/office/drawing/2014/main" id="{EC0D4CEF-9C99-8E7D-E2A8-1CEACDE123B1}"/>
              </a:ext>
            </a:extLst>
          </p:cNvPr>
          <p:cNvSpPr txBox="1"/>
          <p:nvPr/>
        </p:nvSpPr>
        <p:spPr>
          <a:xfrm>
            <a:off x="5943600" y="3810000"/>
            <a:ext cx="2895600" cy="8382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139700" rIns="0" bIns="0" rtlCol="0">
            <a:spAutoFit/>
          </a:bodyPr>
          <a:lstStyle/>
          <a:p>
            <a:pPr marL="332105" marR="22860" indent="-297815">
              <a:lnSpc>
                <a:spcPct val="100000"/>
              </a:lnSpc>
              <a:spcBef>
                <a:spcPts val="1100"/>
              </a:spcBef>
            </a:pPr>
            <a:r>
              <a:rPr sz="1800" dirty="0">
                <a:latin typeface="Arial"/>
                <a:cs typeface="Arial"/>
              </a:rPr>
              <a:t>IOException,</a:t>
            </a:r>
            <a:r>
              <a:rPr sz="1800" spc="-4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SQLException </a:t>
            </a:r>
            <a:r>
              <a:rPr sz="1800" dirty="0">
                <a:latin typeface="Arial"/>
                <a:cs typeface="Arial"/>
              </a:rPr>
              <a:t>(Checked</a:t>
            </a:r>
            <a:r>
              <a:rPr sz="1800" spc="-4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xceptions)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9" name="object 8">
            <a:extLst>
              <a:ext uri="{FF2B5EF4-FFF2-40B4-BE49-F238E27FC236}">
                <a16:creationId xmlns:a16="http://schemas.microsoft.com/office/drawing/2014/main" id="{179C2AAF-077E-76DB-B81C-D65AC785E8DB}"/>
              </a:ext>
            </a:extLst>
          </p:cNvPr>
          <p:cNvSpPr txBox="1"/>
          <p:nvPr/>
        </p:nvSpPr>
        <p:spPr>
          <a:xfrm>
            <a:off x="2895600" y="4495800"/>
            <a:ext cx="2819400" cy="8382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139700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100"/>
              </a:spcBef>
            </a:pPr>
            <a:r>
              <a:rPr sz="1800" dirty="0">
                <a:latin typeface="Arial"/>
                <a:cs typeface="Arial"/>
              </a:rPr>
              <a:t>Runtime</a:t>
            </a:r>
            <a:r>
              <a:rPr sz="1800" spc="-3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xception</a:t>
            </a:r>
            <a:endParaRPr sz="1800">
              <a:latin typeface="Arial"/>
              <a:cs typeface="Arial"/>
            </a:endParaRPr>
          </a:p>
          <a:p>
            <a:pPr marL="1270" algn="ctr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(Unchecked</a:t>
            </a:r>
            <a:r>
              <a:rPr sz="1800" spc="-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xceptions)</a:t>
            </a:r>
            <a:endParaRPr sz="1800">
              <a:latin typeface="Arial"/>
              <a:cs typeface="Arial"/>
            </a:endParaRPr>
          </a:p>
        </p:txBody>
      </p:sp>
      <p:sp>
        <p:nvSpPr>
          <p:cNvPr id="60" name="object 9">
            <a:extLst>
              <a:ext uri="{FF2B5EF4-FFF2-40B4-BE49-F238E27FC236}">
                <a16:creationId xmlns:a16="http://schemas.microsoft.com/office/drawing/2014/main" id="{078A2764-5892-647E-D116-75F2A93391C3}"/>
              </a:ext>
            </a:extLst>
          </p:cNvPr>
          <p:cNvSpPr/>
          <p:nvPr/>
        </p:nvSpPr>
        <p:spPr>
          <a:xfrm>
            <a:off x="3048761" y="2121661"/>
            <a:ext cx="845185" cy="469900"/>
          </a:xfrm>
          <a:custGeom>
            <a:avLst/>
            <a:gdLst/>
            <a:ahLst/>
            <a:cxnLst/>
            <a:rect l="l" t="t" r="r" b="b"/>
            <a:pathLst>
              <a:path w="845185" h="469900">
                <a:moveTo>
                  <a:pt x="55499" y="390143"/>
                </a:moveTo>
                <a:lnTo>
                  <a:pt x="0" y="469900"/>
                </a:lnTo>
                <a:lnTo>
                  <a:pt x="97027" y="466471"/>
                </a:lnTo>
                <a:lnTo>
                  <a:pt x="86939" y="447928"/>
                </a:lnTo>
                <a:lnTo>
                  <a:pt x="70485" y="447928"/>
                </a:lnTo>
                <a:lnTo>
                  <a:pt x="56642" y="422528"/>
                </a:lnTo>
                <a:lnTo>
                  <a:pt x="69348" y="415597"/>
                </a:lnTo>
                <a:lnTo>
                  <a:pt x="55499" y="390143"/>
                </a:lnTo>
                <a:close/>
              </a:path>
              <a:path w="845185" h="469900">
                <a:moveTo>
                  <a:pt x="69348" y="415597"/>
                </a:moveTo>
                <a:lnTo>
                  <a:pt x="56642" y="422528"/>
                </a:lnTo>
                <a:lnTo>
                  <a:pt x="70485" y="447928"/>
                </a:lnTo>
                <a:lnTo>
                  <a:pt x="83173" y="441008"/>
                </a:lnTo>
                <a:lnTo>
                  <a:pt x="69348" y="415597"/>
                </a:lnTo>
                <a:close/>
              </a:path>
              <a:path w="845185" h="469900">
                <a:moveTo>
                  <a:pt x="83173" y="441008"/>
                </a:moveTo>
                <a:lnTo>
                  <a:pt x="70485" y="447928"/>
                </a:lnTo>
                <a:lnTo>
                  <a:pt x="86939" y="447928"/>
                </a:lnTo>
                <a:lnTo>
                  <a:pt x="83173" y="441008"/>
                </a:lnTo>
                <a:close/>
              </a:path>
              <a:path w="845185" h="469900">
                <a:moveTo>
                  <a:pt x="831214" y="0"/>
                </a:moveTo>
                <a:lnTo>
                  <a:pt x="69348" y="415597"/>
                </a:lnTo>
                <a:lnTo>
                  <a:pt x="83173" y="441008"/>
                </a:lnTo>
                <a:lnTo>
                  <a:pt x="845185" y="25400"/>
                </a:lnTo>
                <a:lnTo>
                  <a:pt x="83121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0">
            <a:extLst>
              <a:ext uri="{FF2B5EF4-FFF2-40B4-BE49-F238E27FC236}">
                <a16:creationId xmlns:a16="http://schemas.microsoft.com/office/drawing/2014/main" id="{218F504D-20D1-5CDC-8E75-2D44055710E1}"/>
              </a:ext>
            </a:extLst>
          </p:cNvPr>
          <p:cNvSpPr/>
          <p:nvPr/>
        </p:nvSpPr>
        <p:spPr>
          <a:xfrm>
            <a:off x="4567173" y="2121026"/>
            <a:ext cx="920115" cy="401320"/>
          </a:xfrm>
          <a:custGeom>
            <a:avLst/>
            <a:gdLst/>
            <a:ahLst/>
            <a:cxnLst/>
            <a:rect l="l" t="t" r="r" b="b"/>
            <a:pathLst>
              <a:path w="920114" h="401319">
                <a:moveTo>
                  <a:pt x="834230" y="374286"/>
                </a:moveTo>
                <a:lnTo>
                  <a:pt x="823087" y="401065"/>
                </a:lnTo>
                <a:lnTo>
                  <a:pt x="919988" y="394335"/>
                </a:lnTo>
                <a:lnTo>
                  <a:pt x="907485" y="379857"/>
                </a:lnTo>
                <a:lnTo>
                  <a:pt x="847598" y="379857"/>
                </a:lnTo>
                <a:lnTo>
                  <a:pt x="834230" y="374286"/>
                </a:lnTo>
                <a:close/>
              </a:path>
              <a:path w="920114" h="401319">
                <a:moveTo>
                  <a:pt x="845340" y="347589"/>
                </a:moveTo>
                <a:lnTo>
                  <a:pt x="834230" y="374286"/>
                </a:lnTo>
                <a:lnTo>
                  <a:pt x="847598" y="379857"/>
                </a:lnTo>
                <a:lnTo>
                  <a:pt x="858774" y="353187"/>
                </a:lnTo>
                <a:lnTo>
                  <a:pt x="845340" y="347589"/>
                </a:lnTo>
                <a:close/>
              </a:path>
              <a:path w="920114" h="401319">
                <a:moveTo>
                  <a:pt x="856488" y="320801"/>
                </a:moveTo>
                <a:lnTo>
                  <a:pt x="845340" y="347589"/>
                </a:lnTo>
                <a:lnTo>
                  <a:pt x="858774" y="353187"/>
                </a:lnTo>
                <a:lnTo>
                  <a:pt x="847598" y="379857"/>
                </a:lnTo>
                <a:lnTo>
                  <a:pt x="907485" y="379857"/>
                </a:lnTo>
                <a:lnTo>
                  <a:pt x="856488" y="320801"/>
                </a:lnTo>
                <a:close/>
              </a:path>
              <a:path w="920114" h="401319">
                <a:moveTo>
                  <a:pt x="11175" y="0"/>
                </a:moveTo>
                <a:lnTo>
                  <a:pt x="0" y="26670"/>
                </a:lnTo>
                <a:lnTo>
                  <a:pt x="834230" y="374286"/>
                </a:lnTo>
                <a:lnTo>
                  <a:pt x="845340" y="347589"/>
                </a:lnTo>
                <a:lnTo>
                  <a:pt x="11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11">
            <a:extLst>
              <a:ext uri="{FF2B5EF4-FFF2-40B4-BE49-F238E27FC236}">
                <a16:creationId xmlns:a16="http://schemas.microsoft.com/office/drawing/2014/main" id="{6FB3D04B-4C45-8E25-AE27-5D962229C73F}"/>
              </a:ext>
            </a:extLst>
          </p:cNvPr>
          <p:cNvSpPr/>
          <p:nvPr/>
        </p:nvSpPr>
        <p:spPr>
          <a:xfrm>
            <a:off x="2395727" y="3124961"/>
            <a:ext cx="86995" cy="533400"/>
          </a:xfrm>
          <a:custGeom>
            <a:avLst/>
            <a:gdLst/>
            <a:ahLst/>
            <a:cxnLst/>
            <a:rect l="l" t="t" r="r" b="b"/>
            <a:pathLst>
              <a:path w="86994" h="533400">
                <a:moveTo>
                  <a:pt x="28956" y="446532"/>
                </a:moveTo>
                <a:lnTo>
                  <a:pt x="0" y="446532"/>
                </a:lnTo>
                <a:lnTo>
                  <a:pt x="43434" y="533400"/>
                </a:lnTo>
                <a:lnTo>
                  <a:pt x="79629" y="461010"/>
                </a:lnTo>
                <a:lnTo>
                  <a:pt x="28956" y="461010"/>
                </a:lnTo>
                <a:lnTo>
                  <a:pt x="28956" y="446532"/>
                </a:lnTo>
                <a:close/>
              </a:path>
              <a:path w="86994" h="533400">
                <a:moveTo>
                  <a:pt x="57912" y="0"/>
                </a:moveTo>
                <a:lnTo>
                  <a:pt x="28956" y="0"/>
                </a:lnTo>
                <a:lnTo>
                  <a:pt x="28956" y="461010"/>
                </a:lnTo>
                <a:lnTo>
                  <a:pt x="57912" y="461010"/>
                </a:lnTo>
                <a:lnTo>
                  <a:pt x="57912" y="0"/>
                </a:lnTo>
                <a:close/>
              </a:path>
              <a:path w="86994" h="533400">
                <a:moveTo>
                  <a:pt x="86868" y="446532"/>
                </a:moveTo>
                <a:lnTo>
                  <a:pt x="57912" y="446532"/>
                </a:lnTo>
                <a:lnTo>
                  <a:pt x="57912" y="461010"/>
                </a:lnTo>
                <a:lnTo>
                  <a:pt x="79629" y="461010"/>
                </a:lnTo>
                <a:lnTo>
                  <a:pt x="86868" y="4465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12">
            <a:extLst>
              <a:ext uri="{FF2B5EF4-FFF2-40B4-BE49-F238E27FC236}">
                <a16:creationId xmlns:a16="http://schemas.microsoft.com/office/drawing/2014/main" id="{CBBAA83A-868A-5A96-AC06-D05266830B48}"/>
              </a:ext>
            </a:extLst>
          </p:cNvPr>
          <p:cNvSpPr/>
          <p:nvPr/>
        </p:nvSpPr>
        <p:spPr>
          <a:xfrm>
            <a:off x="4420361" y="2963926"/>
            <a:ext cx="1155065" cy="1532890"/>
          </a:xfrm>
          <a:custGeom>
            <a:avLst/>
            <a:gdLst/>
            <a:ahLst/>
            <a:cxnLst/>
            <a:rect l="l" t="t" r="r" b="b"/>
            <a:pathLst>
              <a:path w="1155064" h="1532889">
                <a:moveTo>
                  <a:pt x="17399" y="1437132"/>
                </a:moveTo>
                <a:lnTo>
                  <a:pt x="0" y="1532636"/>
                </a:lnTo>
                <a:lnTo>
                  <a:pt x="86867" y="1489202"/>
                </a:lnTo>
                <a:lnTo>
                  <a:pt x="79073" y="1483360"/>
                </a:lnTo>
                <a:lnTo>
                  <a:pt x="54990" y="1483360"/>
                </a:lnTo>
                <a:lnTo>
                  <a:pt x="31876" y="1466088"/>
                </a:lnTo>
                <a:lnTo>
                  <a:pt x="40568" y="1454498"/>
                </a:lnTo>
                <a:lnTo>
                  <a:pt x="17399" y="1437132"/>
                </a:lnTo>
                <a:close/>
              </a:path>
              <a:path w="1155064" h="1532889">
                <a:moveTo>
                  <a:pt x="40568" y="1454498"/>
                </a:moveTo>
                <a:lnTo>
                  <a:pt x="31876" y="1466088"/>
                </a:lnTo>
                <a:lnTo>
                  <a:pt x="54990" y="1483360"/>
                </a:lnTo>
                <a:lnTo>
                  <a:pt x="63657" y="1471804"/>
                </a:lnTo>
                <a:lnTo>
                  <a:pt x="40568" y="1454498"/>
                </a:lnTo>
                <a:close/>
              </a:path>
              <a:path w="1155064" h="1532889">
                <a:moveTo>
                  <a:pt x="63657" y="1471804"/>
                </a:moveTo>
                <a:lnTo>
                  <a:pt x="54990" y="1483360"/>
                </a:lnTo>
                <a:lnTo>
                  <a:pt x="79073" y="1483360"/>
                </a:lnTo>
                <a:lnTo>
                  <a:pt x="63657" y="1471804"/>
                </a:lnTo>
                <a:close/>
              </a:path>
              <a:path w="1155064" h="1532889">
                <a:moveTo>
                  <a:pt x="1131442" y="0"/>
                </a:moveTo>
                <a:lnTo>
                  <a:pt x="40568" y="1454498"/>
                </a:lnTo>
                <a:lnTo>
                  <a:pt x="63657" y="1471804"/>
                </a:lnTo>
                <a:lnTo>
                  <a:pt x="1154557" y="17272"/>
                </a:lnTo>
                <a:lnTo>
                  <a:pt x="11314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13">
            <a:extLst>
              <a:ext uri="{FF2B5EF4-FFF2-40B4-BE49-F238E27FC236}">
                <a16:creationId xmlns:a16="http://schemas.microsoft.com/office/drawing/2014/main" id="{9AB0520E-8186-BD95-08D9-AABCB16D3C44}"/>
              </a:ext>
            </a:extLst>
          </p:cNvPr>
          <p:cNvSpPr/>
          <p:nvPr/>
        </p:nvSpPr>
        <p:spPr>
          <a:xfrm>
            <a:off x="5781675" y="2956560"/>
            <a:ext cx="1306195" cy="854710"/>
          </a:xfrm>
          <a:custGeom>
            <a:avLst/>
            <a:gdLst/>
            <a:ahLst/>
            <a:cxnLst/>
            <a:rect l="l" t="t" r="r" b="b"/>
            <a:pathLst>
              <a:path w="1306195" h="854710">
                <a:moveTo>
                  <a:pt x="1199418" y="808054"/>
                </a:moveTo>
                <a:lnTo>
                  <a:pt x="1178686" y="840104"/>
                </a:lnTo>
                <a:lnTo>
                  <a:pt x="1305686" y="854201"/>
                </a:lnTo>
                <a:lnTo>
                  <a:pt x="1284578" y="818388"/>
                </a:lnTo>
                <a:lnTo>
                  <a:pt x="1215390" y="818388"/>
                </a:lnTo>
                <a:lnTo>
                  <a:pt x="1199418" y="808054"/>
                </a:lnTo>
                <a:close/>
              </a:path>
              <a:path w="1306195" h="854710">
                <a:moveTo>
                  <a:pt x="1220061" y="776139"/>
                </a:moveTo>
                <a:lnTo>
                  <a:pt x="1199418" y="808054"/>
                </a:lnTo>
                <a:lnTo>
                  <a:pt x="1215390" y="818388"/>
                </a:lnTo>
                <a:lnTo>
                  <a:pt x="1236091" y="786510"/>
                </a:lnTo>
                <a:lnTo>
                  <a:pt x="1220061" y="776139"/>
                </a:lnTo>
                <a:close/>
              </a:path>
              <a:path w="1306195" h="854710">
                <a:moveTo>
                  <a:pt x="1240790" y="744092"/>
                </a:moveTo>
                <a:lnTo>
                  <a:pt x="1220061" y="776139"/>
                </a:lnTo>
                <a:lnTo>
                  <a:pt x="1236091" y="786510"/>
                </a:lnTo>
                <a:lnTo>
                  <a:pt x="1215390" y="818388"/>
                </a:lnTo>
                <a:lnTo>
                  <a:pt x="1284578" y="818388"/>
                </a:lnTo>
                <a:lnTo>
                  <a:pt x="1240790" y="744092"/>
                </a:lnTo>
                <a:close/>
              </a:path>
              <a:path w="1306195" h="854710">
                <a:moveTo>
                  <a:pt x="20574" y="0"/>
                </a:moveTo>
                <a:lnTo>
                  <a:pt x="0" y="32003"/>
                </a:lnTo>
                <a:lnTo>
                  <a:pt x="1199418" y="808054"/>
                </a:lnTo>
                <a:lnTo>
                  <a:pt x="1220061" y="776139"/>
                </a:lnTo>
                <a:lnTo>
                  <a:pt x="2057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5" name="object 14">
            <a:extLst>
              <a:ext uri="{FF2B5EF4-FFF2-40B4-BE49-F238E27FC236}">
                <a16:creationId xmlns:a16="http://schemas.microsoft.com/office/drawing/2014/main" id="{8CD77D48-2B9C-A0DA-E147-15E34161C7C7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443728" y="5334761"/>
            <a:ext cx="86868" cy="228600"/>
          </a:xfrm>
          <a:prstGeom prst="rect">
            <a:avLst/>
          </a:prstGeom>
        </p:spPr>
      </p:pic>
      <p:sp>
        <p:nvSpPr>
          <p:cNvPr id="66" name="object 15">
            <a:extLst>
              <a:ext uri="{FF2B5EF4-FFF2-40B4-BE49-F238E27FC236}">
                <a16:creationId xmlns:a16="http://schemas.microsoft.com/office/drawing/2014/main" id="{56C37BC5-020A-3000-DD73-C0B6E9FD6790}"/>
              </a:ext>
            </a:extLst>
          </p:cNvPr>
          <p:cNvSpPr txBox="1"/>
          <p:nvPr/>
        </p:nvSpPr>
        <p:spPr>
          <a:xfrm>
            <a:off x="1371600" y="3810000"/>
            <a:ext cx="2819400" cy="609600"/>
          </a:xfrm>
          <a:prstGeom prst="rect">
            <a:avLst/>
          </a:prstGeom>
          <a:solidFill>
            <a:srgbClr val="FFFFFF"/>
          </a:solidFill>
          <a:ln w="9144">
            <a:solidFill>
              <a:srgbClr val="000000"/>
            </a:solidFill>
          </a:ln>
        </p:spPr>
        <p:txBody>
          <a:bodyPr vert="horz" wrap="square" lIns="0" tIns="25400" rIns="0" bIns="0" rtlCol="0">
            <a:spAutoFit/>
          </a:bodyPr>
          <a:lstStyle/>
          <a:p>
            <a:pPr marL="421005" marR="396240" indent="-17145">
              <a:lnSpc>
                <a:spcPct val="100000"/>
              </a:lnSpc>
              <a:spcBef>
                <a:spcPts val="200"/>
              </a:spcBef>
            </a:pPr>
            <a:r>
              <a:rPr sz="1800" spc="-10" dirty="0">
                <a:latin typeface="Arial"/>
                <a:cs typeface="Arial"/>
              </a:rPr>
              <a:t>VirtualMachineError StackOverflowError</a:t>
            </a:r>
            <a:endParaRPr sz="1800">
              <a:latin typeface="Arial"/>
              <a:cs typeface="Arial"/>
            </a:endParaRPr>
          </a:p>
        </p:txBody>
      </p:sp>
      <p:sp>
        <p:nvSpPr>
          <p:cNvPr id="67" name="object 16">
            <a:extLst>
              <a:ext uri="{FF2B5EF4-FFF2-40B4-BE49-F238E27FC236}">
                <a16:creationId xmlns:a16="http://schemas.microsoft.com/office/drawing/2014/main" id="{CF7C6A83-6B78-1353-F99E-C60456230F67}"/>
              </a:ext>
            </a:extLst>
          </p:cNvPr>
          <p:cNvSpPr txBox="1">
            <a:spLocks/>
          </p:cNvSpPr>
          <p:nvPr/>
        </p:nvSpPr>
        <p:spPr>
          <a:xfrm>
            <a:off x="8386571" y="6445541"/>
            <a:ext cx="2597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pc="-25" smtClean="0"/>
              <a:pPr marL="38100">
                <a:lnSpc>
                  <a:spcPts val="1430"/>
                </a:lnSpc>
              </a:pPr>
              <a:t>34</a:t>
            </a:fld>
            <a:endParaRPr lang="en-US" spc="-25" dirty="0"/>
          </a:p>
        </p:txBody>
      </p:sp>
    </p:spTree>
    <p:extLst>
      <p:ext uri="{BB962C8B-B14F-4D97-AF65-F5344CB8AC3E}">
        <p14:creationId xmlns:p14="http://schemas.microsoft.com/office/powerpoint/2010/main" val="417581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Types</a:t>
            </a:r>
            <a:r>
              <a:rPr lang="en-US" sz="2000" spc="-140" dirty="0"/>
              <a:t> </a:t>
            </a:r>
            <a:r>
              <a:rPr lang="en-US" sz="2000" dirty="0"/>
              <a:t>of</a:t>
            </a:r>
            <a:r>
              <a:rPr lang="en-US" sz="2000" spc="-145" dirty="0"/>
              <a:t> </a:t>
            </a:r>
            <a:r>
              <a:rPr lang="en-US" sz="2000" spc="-10" dirty="0"/>
              <a:t>Exception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nchecked</a:t>
            </a:r>
            <a:r>
              <a:rPr lang="en-US" sz="1600" spc="-1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755015" lvl="1" indent="-285115">
              <a:lnSpc>
                <a:spcPct val="100000"/>
              </a:lnSpc>
              <a:spcBef>
                <a:spcPts val="500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Also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lled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s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RuntimeException</a:t>
            </a:r>
            <a:endParaRPr lang="en-US" sz="1600" dirty="0">
              <a:latin typeface="Carlito"/>
              <a:cs typeface="Carlito"/>
            </a:endParaRPr>
          </a:p>
          <a:p>
            <a:pPr marL="754380" marR="5080" lvl="1" indent="-285115">
              <a:lnSpc>
                <a:spcPct val="100000"/>
              </a:lnSpc>
              <a:spcBef>
                <a:spcPts val="57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If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handled,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handled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y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JVM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nd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terminates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application</a:t>
            </a:r>
            <a:endParaRPr lang="en-US" sz="1600" dirty="0">
              <a:latin typeface="Carlito"/>
              <a:cs typeface="Carlito"/>
            </a:endParaRPr>
          </a:p>
          <a:p>
            <a:pPr lvl="1">
              <a:lnSpc>
                <a:spcPct val="100000"/>
              </a:lnSpc>
              <a:spcBef>
                <a:spcPts val="1855"/>
              </a:spcBef>
              <a:buFont typeface="Arial"/>
              <a:buChar char="–"/>
            </a:pPr>
            <a:endParaRPr lang="en-US" sz="1600" dirty="0">
              <a:latin typeface="Carlito"/>
              <a:cs typeface="Carlito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hecked</a:t>
            </a:r>
            <a:r>
              <a:rPr lang="en-US" sz="1600" spc="-11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755015" lvl="1" indent="-285115">
              <a:lnSpc>
                <a:spcPct val="100000"/>
              </a:lnSpc>
              <a:spcBef>
                <a:spcPts val="495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Also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lled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s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CompiletimeException</a:t>
            </a:r>
            <a:r>
              <a:rPr lang="en-US" sz="1600" spc="-10" dirty="0">
                <a:latin typeface="Carlito"/>
                <a:cs typeface="Carlito"/>
              </a:rPr>
              <a:t>.</a:t>
            </a:r>
            <a:endParaRPr lang="en-US" sz="1600" dirty="0">
              <a:latin typeface="Carlito"/>
              <a:cs typeface="Carlito"/>
            </a:endParaRPr>
          </a:p>
          <a:p>
            <a:pPr marL="755015" lvl="1" indent="-285115">
              <a:lnSpc>
                <a:spcPct val="100000"/>
              </a:lnSpc>
              <a:spcBef>
                <a:spcPts val="575"/>
              </a:spcBef>
              <a:buFont typeface="Arial"/>
              <a:buChar char="–"/>
              <a:tabLst>
                <a:tab pos="755015" algn="l"/>
              </a:tabLst>
            </a:pPr>
            <a:r>
              <a:rPr lang="en-US" sz="1600" dirty="0">
                <a:latin typeface="Carlito"/>
                <a:cs typeface="Carlito"/>
              </a:rPr>
              <a:t>If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handled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row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ompiler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error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t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must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25" dirty="0">
                <a:latin typeface="Carlito"/>
                <a:cs typeface="Carlito"/>
              </a:rPr>
              <a:t>be</a:t>
            </a:r>
            <a:endParaRPr lang="en-US" sz="1600" dirty="0">
              <a:latin typeface="Carlito"/>
              <a:cs typeface="Carlito"/>
            </a:endParaRPr>
          </a:p>
          <a:p>
            <a:pPr marL="756285">
              <a:lnSpc>
                <a:spcPct val="100000"/>
              </a:lnSpc>
              <a:spcBef>
                <a:spcPts val="5"/>
              </a:spcBef>
            </a:pPr>
            <a:r>
              <a:rPr lang="en-US" sz="1600" dirty="0">
                <a:latin typeface="Carlito"/>
                <a:cs typeface="Carlito"/>
              </a:rPr>
              <a:t>handled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r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declared</a:t>
            </a:r>
            <a:endParaRPr lang="en-US" sz="1600" dirty="0">
              <a:latin typeface="Carlito"/>
              <a:cs typeface="Carlito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18743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Error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  <a:tab pos="965200" algn="l"/>
              </a:tabLst>
            </a:pPr>
            <a:r>
              <a:rPr lang="en-US" sz="1600" spc="-25" dirty="0">
                <a:latin typeface="Arial"/>
                <a:cs typeface="Arial"/>
              </a:rPr>
              <a:t>Are </a:t>
            </a:r>
            <a:r>
              <a:rPr lang="en-US" sz="1600" dirty="0">
                <a:latin typeface="Arial"/>
                <a:cs typeface="Arial"/>
              </a:rPr>
              <a:t>exception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pect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ugh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under </a:t>
            </a:r>
            <a:r>
              <a:rPr lang="en-US" sz="1600" dirty="0">
                <a:latin typeface="Arial"/>
                <a:cs typeface="Arial"/>
              </a:rPr>
              <a:t>normal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ircumstances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program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7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310515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Java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untim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ystem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dicat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rrors </a:t>
            </a:r>
            <a:r>
              <a:rPr lang="en-US" sz="1600" dirty="0">
                <a:latin typeface="Arial"/>
                <a:cs typeface="Arial"/>
              </a:rPr>
              <a:t>hav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o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untim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nvironment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7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tack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flow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dica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ch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rror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7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xception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Error</a:t>
            </a:r>
            <a:r>
              <a:rPr lang="en-US" sz="1600" b="1" i="1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yo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trol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spcBef>
                <a:spcPts val="5"/>
              </a:spcBef>
            </a:pPr>
            <a:r>
              <a:rPr lang="en-US" sz="1600" spc="-10" dirty="0">
                <a:latin typeface="Arial"/>
                <a:cs typeface="Arial"/>
              </a:rPr>
              <a:t>program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388053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s</a:t>
            </a:r>
            <a:r>
              <a:rPr lang="en-US" sz="2000" spc="-90" dirty="0"/>
              <a:t> </a:t>
            </a:r>
            <a:r>
              <a:rPr lang="en-US" sz="2000" dirty="0"/>
              <a:t>of</a:t>
            </a:r>
            <a:r>
              <a:rPr lang="en-US" sz="2000" spc="-105" dirty="0"/>
              <a:t> </a:t>
            </a:r>
            <a:r>
              <a:rPr lang="en-US" sz="2000" dirty="0"/>
              <a:t>inbuilt</a:t>
            </a:r>
            <a:r>
              <a:rPr lang="en-US" sz="2000" spc="-85" dirty="0"/>
              <a:t> </a:t>
            </a:r>
            <a:r>
              <a:rPr lang="en-US" sz="2000" spc="-10" dirty="0"/>
              <a:t>Exceptions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238760" indent="-226060">
              <a:lnSpc>
                <a:spcPct val="100000"/>
              </a:lnSpc>
              <a:spcBef>
                <a:spcPts val="705"/>
              </a:spcBef>
              <a:buFont typeface="Arial"/>
              <a:buChar char="–"/>
              <a:tabLst>
                <a:tab pos="238760" algn="l"/>
              </a:tabLst>
            </a:pPr>
            <a:r>
              <a:rPr lang="en-US" sz="1600" spc="-10" dirty="0">
                <a:latin typeface="Carlito"/>
                <a:cs typeface="Carlito"/>
              </a:rPr>
              <a:t>Errors:</a:t>
            </a:r>
            <a:endParaRPr lang="en-US" sz="1600" dirty="0">
              <a:latin typeface="Carlito"/>
              <a:cs typeface="Carlito"/>
            </a:endParaRPr>
          </a:p>
          <a:p>
            <a:pPr marL="640715" lvl="1" indent="-286385">
              <a:lnSpc>
                <a:spcPct val="100000"/>
              </a:lnSpc>
              <a:spcBef>
                <a:spcPts val="509"/>
              </a:spcBef>
              <a:buFont typeface="Arial"/>
              <a:buChar char="•"/>
              <a:tabLst>
                <a:tab pos="640715" algn="l"/>
              </a:tabLst>
            </a:pPr>
            <a:r>
              <a:rPr lang="en-US" sz="1600" spc="-20" dirty="0" err="1">
                <a:latin typeface="Carlito"/>
                <a:cs typeface="Carlito"/>
              </a:rPr>
              <a:t>OutOfMemoryError</a:t>
            </a:r>
            <a:r>
              <a:rPr lang="en-US" sz="1600" spc="-20" dirty="0">
                <a:latin typeface="Carlito"/>
                <a:cs typeface="Carlito"/>
              </a:rPr>
              <a:t>,</a:t>
            </a:r>
            <a:r>
              <a:rPr lang="en-US" sz="1600" spc="45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InternalError</a:t>
            </a:r>
            <a:endParaRPr lang="en-US" sz="1600" dirty="0">
              <a:latin typeface="Carlito"/>
              <a:cs typeface="Carlito"/>
            </a:endParaRPr>
          </a:p>
          <a:p>
            <a:pPr lvl="1">
              <a:lnSpc>
                <a:spcPct val="100000"/>
              </a:lnSpc>
              <a:spcBef>
                <a:spcPts val="1565"/>
              </a:spcBef>
              <a:buFont typeface="Arial"/>
              <a:buChar char="•"/>
            </a:pPr>
            <a:endParaRPr lang="en-US" sz="1600" dirty="0">
              <a:latin typeface="Carlito"/>
              <a:cs typeface="Carlito"/>
            </a:endParaRPr>
          </a:p>
          <a:p>
            <a:pPr marL="238760" indent="-226060">
              <a:lnSpc>
                <a:spcPct val="100000"/>
              </a:lnSpc>
              <a:buFont typeface="Arial"/>
              <a:buChar char="–"/>
              <a:tabLst>
                <a:tab pos="238760" algn="l"/>
              </a:tabLst>
            </a:pPr>
            <a:r>
              <a:rPr lang="en-US" sz="1600" spc="-10" dirty="0">
                <a:latin typeface="Carlito"/>
                <a:cs typeface="Carlito"/>
              </a:rPr>
              <a:t>Unchecked</a:t>
            </a:r>
            <a:r>
              <a:rPr lang="en-US" sz="1600" spc="-11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s:</a:t>
            </a:r>
            <a:endParaRPr lang="en-US" sz="1600" dirty="0">
              <a:latin typeface="Carlito"/>
              <a:cs typeface="Carlito"/>
            </a:endParaRPr>
          </a:p>
          <a:p>
            <a:pPr marL="640715" lvl="1" indent="-286385">
              <a:lnSpc>
                <a:spcPct val="100000"/>
              </a:lnSpc>
              <a:spcBef>
                <a:spcPts val="505"/>
              </a:spcBef>
              <a:buFont typeface="Arial"/>
              <a:buChar char="•"/>
              <a:tabLst>
                <a:tab pos="640715" algn="l"/>
              </a:tabLst>
            </a:pPr>
            <a:r>
              <a:rPr lang="en-US" sz="1600" spc="-10" dirty="0" err="1">
                <a:latin typeface="Carlito"/>
                <a:cs typeface="Carlito"/>
              </a:rPr>
              <a:t>ArrayIndexOutOfBoundsException</a:t>
            </a:r>
            <a:r>
              <a:rPr lang="en-US" sz="1600" spc="-10" dirty="0">
                <a:latin typeface="Carlito"/>
                <a:cs typeface="Carlito"/>
              </a:rPr>
              <a:t>,</a:t>
            </a:r>
            <a:endParaRPr lang="en-US" sz="1600" dirty="0">
              <a:latin typeface="Carlito"/>
              <a:cs typeface="Carlito"/>
            </a:endParaRPr>
          </a:p>
          <a:p>
            <a:pPr marL="638810">
              <a:lnSpc>
                <a:spcPct val="100000"/>
              </a:lnSpc>
              <a:spcBef>
                <a:spcPts val="484"/>
              </a:spcBef>
            </a:pPr>
            <a:r>
              <a:rPr lang="en-US" sz="1600" dirty="0" err="1">
                <a:latin typeface="Carlito"/>
                <a:cs typeface="Carlito"/>
              </a:rPr>
              <a:t>ArithmeticException</a:t>
            </a:r>
            <a:r>
              <a:rPr lang="en-US" sz="1600" dirty="0">
                <a:latin typeface="Carlito"/>
                <a:cs typeface="Carlito"/>
              </a:rPr>
              <a:t>,</a:t>
            </a:r>
            <a:r>
              <a:rPr lang="en-US" sz="1600" spc="220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ClassCastException</a:t>
            </a:r>
            <a:r>
              <a:rPr lang="en-US" sz="1600" spc="-10" dirty="0">
                <a:latin typeface="Carlito"/>
                <a:cs typeface="Carlito"/>
              </a:rPr>
              <a:t>,</a:t>
            </a:r>
            <a:endParaRPr lang="en-US" sz="1600" dirty="0">
              <a:latin typeface="Carlito"/>
              <a:cs typeface="Carlito"/>
            </a:endParaRPr>
          </a:p>
          <a:p>
            <a:pPr marL="12700" indent="626110">
              <a:lnSpc>
                <a:spcPct val="100000"/>
              </a:lnSpc>
              <a:spcBef>
                <a:spcPts val="480"/>
              </a:spcBef>
            </a:pPr>
            <a:r>
              <a:rPr lang="en-US" sz="1600" spc="-10" dirty="0" err="1">
                <a:latin typeface="Carlito"/>
                <a:cs typeface="Carlito"/>
              </a:rPr>
              <a:t>NullPointerException</a:t>
            </a:r>
            <a:endParaRPr lang="en-US"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spcBef>
                <a:spcPts val="1560"/>
              </a:spcBef>
            </a:pPr>
            <a:endParaRPr lang="en-US" sz="1600" dirty="0">
              <a:latin typeface="Carlito"/>
              <a:cs typeface="Carlito"/>
            </a:endParaRPr>
          </a:p>
          <a:p>
            <a:pPr marL="238760" indent="-226060">
              <a:lnSpc>
                <a:spcPct val="100000"/>
              </a:lnSpc>
              <a:buFont typeface="Arial"/>
              <a:buChar char="–"/>
              <a:tabLst>
                <a:tab pos="238760" algn="l"/>
              </a:tabLst>
            </a:pPr>
            <a:r>
              <a:rPr lang="en-US" sz="1600" dirty="0">
                <a:latin typeface="Carlito"/>
                <a:cs typeface="Carlito"/>
              </a:rPr>
              <a:t>Checked</a:t>
            </a:r>
            <a:r>
              <a:rPr lang="en-US" sz="1600" spc="-12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s:</a:t>
            </a:r>
            <a:endParaRPr lang="en-US" sz="1600" dirty="0">
              <a:latin typeface="Carlito"/>
              <a:cs typeface="Carlito"/>
            </a:endParaRPr>
          </a:p>
          <a:p>
            <a:pPr marL="640715" lvl="1" indent="-286385">
              <a:lnSpc>
                <a:spcPct val="100000"/>
              </a:lnSpc>
              <a:spcBef>
                <a:spcPts val="515"/>
              </a:spcBef>
              <a:buFont typeface="Arial"/>
              <a:buChar char="•"/>
              <a:tabLst>
                <a:tab pos="640715" algn="l"/>
              </a:tabLst>
            </a:pPr>
            <a:r>
              <a:rPr lang="en-US" sz="1600" spc="-10" dirty="0" err="1">
                <a:latin typeface="Carlito"/>
                <a:cs typeface="Carlito"/>
              </a:rPr>
              <a:t>ClassNotFoundException</a:t>
            </a:r>
            <a:r>
              <a:rPr lang="en-US" sz="1600" spc="-10" dirty="0">
                <a:latin typeface="Carlito"/>
                <a:cs typeface="Carlito"/>
              </a:rPr>
              <a:t>,</a:t>
            </a:r>
            <a:r>
              <a:rPr lang="en-US" sz="1600" spc="-15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IOException</a:t>
            </a:r>
            <a:r>
              <a:rPr lang="en-US" sz="1600" spc="-10" dirty="0">
                <a:latin typeface="Carlito"/>
                <a:cs typeface="Carlito"/>
              </a:rPr>
              <a:t>,</a:t>
            </a:r>
            <a:r>
              <a:rPr lang="en-US" sz="1600" spc="-15" dirty="0">
                <a:latin typeface="Carlito"/>
                <a:cs typeface="Carlito"/>
              </a:rPr>
              <a:t> </a:t>
            </a:r>
            <a:r>
              <a:rPr lang="en-US" sz="1600" spc="-10" dirty="0" err="1">
                <a:latin typeface="Carlito"/>
                <a:cs typeface="Carlito"/>
              </a:rPr>
              <a:t>SQLException</a:t>
            </a:r>
            <a:endParaRPr lang="en-US" sz="1600" dirty="0">
              <a:latin typeface="Carlito"/>
              <a:cs typeface="Carlito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325921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ception</a:t>
            </a:r>
            <a:r>
              <a:rPr lang="en-US" sz="2000" spc="-200" dirty="0"/>
              <a:t> </a:t>
            </a:r>
            <a:r>
              <a:rPr lang="en-US" sz="2000" dirty="0"/>
              <a:t>Handling</a:t>
            </a:r>
            <a:r>
              <a:rPr lang="en-US" sz="2000" spc="-165" dirty="0"/>
              <a:t> </a:t>
            </a:r>
            <a:r>
              <a:rPr lang="en-US" sz="2000" spc="-10" dirty="0"/>
              <a:t>keywords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00" b="1" dirty="0">
                <a:latin typeface="Arial"/>
                <a:cs typeface="Arial"/>
              </a:rPr>
              <a:t>Use</a:t>
            </a:r>
            <a:r>
              <a:rPr lang="en-US" sz="1600" b="1" spc="-6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of</a:t>
            </a:r>
            <a:r>
              <a:rPr lang="en-US" sz="1600" b="1" spc="-70" dirty="0">
                <a:latin typeface="Arial"/>
                <a:cs typeface="Arial"/>
              </a:rPr>
              <a:t> </a:t>
            </a:r>
            <a:r>
              <a:rPr lang="en-US" sz="1600" b="1" spc="-25" dirty="0">
                <a:latin typeface="Arial"/>
                <a:cs typeface="Arial"/>
              </a:rPr>
              <a:t>try,</a:t>
            </a:r>
            <a:r>
              <a:rPr lang="en-US" sz="1600" b="1" spc="-6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catch,</a:t>
            </a:r>
            <a:r>
              <a:rPr lang="en-US" sz="1600" b="1" spc="-6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finally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05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600" b="1" dirty="0">
                <a:latin typeface="Arial"/>
                <a:cs typeface="Arial"/>
              </a:rPr>
              <a:t>try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b="1" spc="-50" dirty="0">
                <a:latin typeface="Arial"/>
                <a:cs typeface="Arial"/>
              </a:rPr>
              <a:t>{</a:t>
            </a:r>
            <a:endParaRPr lang="en-US" sz="1600" dirty="0">
              <a:latin typeface="Arial"/>
              <a:cs typeface="Arial"/>
            </a:endParaRPr>
          </a:p>
          <a:p>
            <a:pPr marL="152400">
              <a:lnSpc>
                <a:spcPct val="100000"/>
              </a:lnSpc>
              <a:spcBef>
                <a:spcPts val="480"/>
              </a:spcBef>
              <a:tabLst>
                <a:tab pos="2702560" algn="l"/>
              </a:tabLst>
            </a:pPr>
            <a:r>
              <a:rPr lang="en-US" sz="1600" i="1" dirty="0">
                <a:latin typeface="Arial"/>
                <a:cs typeface="Arial"/>
              </a:rPr>
              <a:t>//</a:t>
            </a:r>
            <a:r>
              <a:rPr lang="en-US" sz="1600" i="1" spc="-3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all</a:t>
            </a:r>
            <a:r>
              <a:rPr lang="en-US" sz="1600" i="1" spc="-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error</a:t>
            </a:r>
            <a:r>
              <a:rPr lang="en-US" sz="1600" i="1" spc="-4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prone</a:t>
            </a:r>
            <a:r>
              <a:rPr lang="en-US" sz="1600" i="1" spc="-45" dirty="0">
                <a:latin typeface="Arial"/>
                <a:cs typeface="Arial"/>
              </a:rPr>
              <a:t> </a:t>
            </a:r>
            <a:r>
              <a:rPr lang="en-US" sz="1600" i="1" spc="-20" dirty="0">
                <a:latin typeface="Arial"/>
                <a:cs typeface="Arial"/>
              </a:rPr>
              <a:t>code</a:t>
            </a:r>
            <a:r>
              <a:rPr lang="en-US" sz="1600" i="1" dirty="0">
                <a:latin typeface="Arial"/>
                <a:cs typeface="Arial"/>
              </a:rPr>
              <a:t>	</a:t>
            </a:r>
            <a:r>
              <a:rPr lang="en-US" sz="1600" i="1" spc="-20" dirty="0">
                <a:latin typeface="Arial"/>
                <a:cs typeface="Arial"/>
              </a:rPr>
              <a:t>here</a:t>
            </a:r>
            <a:endParaRPr lang="en-US" sz="1600" dirty="0">
              <a:latin typeface="Arial"/>
              <a:cs typeface="Arial"/>
            </a:endParaRPr>
          </a:p>
          <a:p>
            <a:pPr marL="152400">
              <a:lnSpc>
                <a:spcPct val="100000"/>
              </a:lnSpc>
              <a:spcBef>
                <a:spcPts val="480"/>
              </a:spcBef>
            </a:pPr>
            <a:r>
              <a:rPr lang="en-US" sz="1600" b="1" spc="-50" dirty="0">
                <a:latin typeface="Arial"/>
                <a:cs typeface="Arial"/>
              </a:rPr>
              <a:t>}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  <a:tabLst>
                <a:tab pos="2929890" algn="l"/>
              </a:tabLst>
            </a:pPr>
            <a:r>
              <a:rPr lang="en-US" sz="1600" b="1" spc="-10" dirty="0">
                <a:latin typeface="Arial"/>
                <a:cs typeface="Arial"/>
              </a:rPr>
              <a:t>catch(</a:t>
            </a:r>
            <a:r>
              <a:rPr lang="en-US" sz="1600" b="1" spc="-10" dirty="0" err="1">
                <a:latin typeface="Arial"/>
                <a:cs typeface="Arial"/>
              </a:rPr>
              <a:t>TypeofException</a:t>
            </a:r>
            <a:r>
              <a:rPr lang="en-US" sz="1600" b="1" dirty="0">
                <a:latin typeface="Arial"/>
                <a:cs typeface="Arial"/>
              </a:rPr>
              <a:t>	obj)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b="1" spc="-50" dirty="0">
                <a:latin typeface="Arial"/>
                <a:cs typeface="Arial"/>
              </a:rPr>
              <a:t>{</a:t>
            </a:r>
            <a:endParaRPr lang="en-US" sz="1600" dirty="0">
              <a:latin typeface="Arial"/>
              <a:cs typeface="Arial"/>
            </a:endParaRPr>
          </a:p>
          <a:p>
            <a:pPr marL="425450">
              <a:lnSpc>
                <a:spcPct val="100000"/>
              </a:lnSpc>
              <a:spcBef>
                <a:spcPts val="480"/>
              </a:spcBef>
            </a:pPr>
            <a:r>
              <a:rPr lang="en-US" sz="1600" i="1" dirty="0">
                <a:latin typeface="Arial"/>
                <a:cs typeface="Arial"/>
              </a:rPr>
              <a:t>//handle</a:t>
            </a:r>
            <a:r>
              <a:rPr lang="en-US" sz="1600" i="1" spc="-5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the</a:t>
            </a:r>
            <a:r>
              <a:rPr lang="en-US" sz="1600" i="1" spc="-40" dirty="0">
                <a:latin typeface="Arial"/>
                <a:cs typeface="Arial"/>
              </a:rPr>
              <a:t> </a:t>
            </a:r>
            <a:r>
              <a:rPr lang="en-US" sz="1600" i="1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220979">
              <a:lnSpc>
                <a:spcPct val="100000"/>
              </a:lnSpc>
              <a:spcBef>
                <a:spcPts val="480"/>
              </a:spcBef>
            </a:pPr>
            <a:r>
              <a:rPr lang="en-US" sz="1600" b="1" spc="-50" dirty="0">
                <a:latin typeface="Arial"/>
                <a:cs typeface="Arial"/>
              </a:rPr>
              <a:t>}</a:t>
            </a:r>
            <a:endParaRPr lang="en-US" sz="1600" dirty="0">
              <a:latin typeface="Arial"/>
              <a:cs typeface="Arial"/>
            </a:endParaRPr>
          </a:p>
          <a:p>
            <a:pPr marL="82550">
              <a:lnSpc>
                <a:spcPct val="100000"/>
              </a:lnSpc>
              <a:spcBef>
                <a:spcPts val="480"/>
              </a:spcBef>
              <a:tabLst>
                <a:tab pos="954405" algn="l"/>
              </a:tabLst>
            </a:pPr>
            <a:r>
              <a:rPr lang="en-US" sz="1600" b="1" spc="-10" dirty="0">
                <a:latin typeface="Arial"/>
                <a:cs typeface="Arial"/>
              </a:rPr>
              <a:t>finally</a:t>
            </a:r>
            <a:r>
              <a:rPr lang="en-US" sz="1600" b="1" dirty="0">
                <a:latin typeface="Arial"/>
                <a:cs typeface="Arial"/>
              </a:rPr>
              <a:t>	</a:t>
            </a:r>
            <a:r>
              <a:rPr lang="en-US" sz="1600" b="1" spc="-50" dirty="0">
                <a:latin typeface="Arial"/>
                <a:cs typeface="Arial"/>
              </a:rPr>
              <a:t>{</a:t>
            </a:r>
            <a:endParaRPr lang="en-US" sz="1600" dirty="0">
              <a:latin typeface="Arial"/>
              <a:cs typeface="Arial"/>
            </a:endParaRPr>
          </a:p>
          <a:p>
            <a:pPr marL="146685">
              <a:lnSpc>
                <a:spcPct val="100000"/>
              </a:lnSpc>
              <a:spcBef>
                <a:spcPts val="575"/>
              </a:spcBef>
            </a:pPr>
            <a:r>
              <a:rPr lang="en-US" sz="1600" i="1" spc="-10" dirty="0">
                <a:latin typeface="Arial"/>
                <a:cs typeface="Arial"/>
              </a:rPr>
              <a:t>//clean </a:t>
            </a:r>
            <a:r>
              <a:rPr lang="en-US" sz="1600" i="1" spc="-25" dirty="0">
                <a:latin typeface="Arial"/>
                <a:cs typeface="Arial"/>
              </a:rPr>
              <a:t>up</a:t>
            </a:r>
            <a:r>
              <a:rPr lang="en-US" sz="1600" i="1" dirty="0">
                <a:latin typeface="Arial"/>
                <a:cs typeface="Arial"/>
              </a:rPr>
              <a:t>	</a:t>
            </a:r>
            <a:r>
              <a:rPr lang="en-US" sz="1600" i="1" spc="-20" dirty="0">
                <a:latin typeface="Arial"/>
                <a:cs typeface="Arial"/>
              </a:rPr>
              <a:t>code </a:t>
            </a:r>
            <a:r>
              <a:rPr lang="en-US" sz="1600" i="1" spc="-10" dirty="0">
                <a:latin typeface="Arial"/>
                <a:cs typeface="Arial"/>
              </a:rPr>
              <a:t>written</a:t>
            </a:r>
            <a:r>
              <a:rPr lang="en-US" sz="1600" i="1" dirty="0">
                <a:latin typeface="Arial"/>
                <a:cs typeface="Arial"/>
              </a:rPr>
              <a:t>	 </a:t>
            </a:r>
            <a:r>
              <a:rPr lang="en-US" sz="1600" i="1" spc="-25" dirty="0">
                <a:latin typeface="Arial"/>
                <a:cs typeface="Arial"/>
              </a:rPr>
              <a:t>to </a:t>
            </a:r>
            <a:r>
              <a:rPr lang="en-US" sz="1600" i="1" spc="-10" dirty="0">
                <a:latin typeface="Arial"/>
                <a:cs typeface="Arial"/>
              </a:rPr>
              <a:t>release </a:t>
            </a:r>
            <a:r>
              <a:rPr lang="en-US" sz="1600" i="1" spc="-25" dirty="0">
                <a:latin typeface="Arial"/>
                <a:cs typeface="Arial"/>
              </a:rPr>
              <a:t>the </a:t>
            </a:r>
            <a:r>
              <a:rPr lang="en-US" sz="1600" i="1" spc="-10" dirty="0">
                <a:latin typeface="Arial"/>
                <a:cs typeface="Arial"/>
              </a:rPr>
              <a:t>resources </a:t>
            </a:r>
            <a:r>
              <a:rPr lang="en-US" sz="1600" i="1" spc="-20" dirty="0">
                <a:latin typeface="Arial"/>
                <a:cs typeface="Arial"/>
              </a:rPr>
              <a:t>like </a:t>
            </a:r>
            <a:r>
              <a:rPr lang="en-US" sz="1600" i="1" spc="-10" dirty="0">
                <a:latin typeface="Arial"/>
                <a:cs typeface="Arial"/>
              </a:rPr>
              <a:t>database </a:t>
            </a:r>
            <a:r>
              <a:rPr lang="en-US" sz="1600" i="1" dirty="0">
                <a:latin typeface="Arial"/>
                <a:cs typeface="Arial"/>
              </a:rPr>
              <a:t>connection</a:t>
            </a:r>
            <a:r>
              <a:rPr lang="en-US" sz="1600" i="1" spc="-8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closing,</a:t>
            </a:r>
            <a:r>
              <a:rPr lang="en-US" sz="1600" i="1" spc="-5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closing</a:t>
            </a:r>
            <a:r>
              <a:rPr lang="en-US" sz="1600" i="1" spc="-6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the</a:t>
            </a:r>
            <a:r>
              <a:rPr lang="en-US" sz="1600" i="1" spc="-6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file</a:t>
            </a:r>
            <a:r>
              <a:rPr lang="en-US" sz="1600" i="1" spc="-35" dirty="0">
                <a:latin typeface="Arial"/>
                <a:cs typeface="Arial"/>
              </a:rPr>
              <a:t> </a:t>
            </a:r>
            <a:r>
              <a:rPr lang="en-US" sz="1600" i="1" spc="-20" dirty="0">
                <a:latin typeface="Arial"/>
                <a:cs typeface="Arial"/>
              </a:rPr>
              <a:t>etc.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en-US" sz="1600" b="1" spc="-50" dirty="0">
                <a:latin typeface="Arial"/>
                <a:cs typeface="Arial"/>
              </a:rPr>
              <a:t>}</a:t>
            </a:r>
            <a:endParaRPr lang="en-US" sz="1600" dirty="0">
              <a:latin typeface="Arial"/>
              <a:cs typeface="Arial"/>
            </a:endParaRPr>
          </a:p>
          <a:p>
            <a:pPr marL="12065" marR="74930">
              <a:spcBef>
                <a:spcPts val="100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  <a:p>
            <a:pPr marL="12065" marR="74930">
              <a:spcBef>
                <a:spcPts val="100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  <a:p>
            <a:pPr marL="12065" marR="74930">
              <a:lnSpc>
                <a:spcPct val="100000"/>
              </a:lnSpc>
              <a:spcBef>
                <a:spcPts val="100"/>
              </a:spcBef>
              <a:buNone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273805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More</a:t>
            </a:r>
            <a:r>
              <a:rPr lang="en-US" sz="2000" spc="-60" dirty="0"/>
              <a:t> </a:t>
            </a:r>
            <a:r>
              <a:rPr lang="en-US" sz="2000" dirty="0"/>
              <a:t>on</a:t>
            </a:r>
            <a:r>
              <a:rPr lang="en-US" sz="2000" spc="-70" dirty="0"/>
              <a:t> </a:t>
            </a:r>
            <a:r>
              <a:rPr lang="en-US" sz="2000" spc="-10" dirty="0"/>
              <a:t>try-catch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No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tatemen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twee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ry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atch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  <a:tab pos="5780405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ry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v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mbe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atements </a:t>
            </a:r>
            <a:r>
              <a:rPr lang="en-US" sz="1600" dirty="0">
                <a:latin typeface="Arial"/>
                <a:cs typeface="Arial"/>
              </a:rPr>
              <a:t>each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ing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 </a:t>
            </a:r>
            <a:r>
              <a:rPr lang="en-US" sz="1600" dirty="0">
                <a:latin typeface="Arial"/>
                <a:cs typeface="Arial"/>
              </a:rPr>
              <a:t>differen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ry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lock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inall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block.(</a:t>
            </a:r>
            <a:r>
              <a:rPr lang="en-US" sz="1600" spc="-10" dirty="0" err="1">
                <a:latin typeface="Arial"/>
                <a:cs typeface="Arial"/>
              </a:rPr>
              <a:t>ie</a:t>
            </a:r>
            <a:r>
              <a:rPr lang="en-US" sz="1600" spc="-1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4"/>
              </a:spcBef>
              <a:buChar char="–"/>
              <a:tabLst>
                <a:tab pos="756285" algn="l"/>
              </a:tabLst>
            </a:pPr>
            <a:r>
              <a:rPr lang="en-US" sz="1600" spc="-10" dirty="0">
                <a:latin typeface="Arial"/>
                <a:cs typeface="Arial"/>
              </a:rPr>
              <a:t>try-catch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1600" spc="-10" dirty="0">
                <a:latin typeface="Arial"/>
                <a:cs typeface="Arial"/>
              </a:rPr>
              <a:t>try-catch-catch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1600" spc="-10" dirty="0">
                <a:latin typeface="Arial"/>
                <a:cs typeface="Arial"/>
              </a:rPr>
              <a:t>try-catch-finally</a:t>
            </a: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1600" spc="-10" dirty="0">
                <a:latin typeface="Arial"/>
                <a:cs typeface="Arial"/>
              </a:rPr>
              <a:t>try-finally</a:t>
            </a: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1600" dirty="0">
                <a:latin typeface="Arial"/>
                <a:cs typeface="Arial"/>
              </a:rPr>
              <a:t>try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–with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sources 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  <p:sp>
        <p:nvSpPr>
          <p:cNvPr id="3" name="object 5">
            <a:extLst>
              <a:ext uri="{FF2B5EF4-FFF2-40B4-BE49-F238E27FC236}">
                <a16:creationId xmlns:a16="http://schemas.microsoft.com/office/drawing/2014/main" id="{DC359865-92F3-2C12-0771-78EFFCD57950}"/>
              </a:ext>
            </a:extLst>
          </p:cNvPr>
          <p:cNvSpPr/>
          <p:nvPr/>
        </p:nvSpPr>
        <p:spPr>
          <a:xfrm>
            <a:off x="2641539" y="4339875"/>
            <a:ext cx="2362835" cy="278130"/>
          </a:xfrm>
          <a:custGeom>
            <a:avLst/>
            <a:gdLst/>
            <a:ahLst/>
            <a:cxnLst/>
            <a:rect l="l" t="t" r="r" b="b"/>
            <a:pathLst>
              <a:path w="2362835" h="278129">
                <a:moveTo>
                  <a:pt x="2326449" y="237775"/>
                </a:moveTo>
                <a:lnTo>
                  <a:pt x="2267585" y="264922"/>
                </a:lnTo>
                <a:lnTo>
                  <a:pt x="2264410" y="266319"/>
                </a:lnTo>
                <a:lnTo>
                  <a:pt x="2263013" y="270128"/>
                </a:lnTo>
                <a:lnTo>
                  <a:pt x="2264410" y="273303"/>
                </a:lnTo>
                <a:lnTo>
                  <a:pt x="2265934" y="276478"/>
                </a:lnTo>
                <a:lnTo>
                  <a:pt x="2269617" y="277875"/>
                </a:lnTo>
                <a:lnTo>
                  <a:pt x="2272792" y="276352"/>
                </a:lnTo>
                <a:lnTo>
                  <a:pt x="2351786" y="240030"/>
                </a:lnTo>
                <a:lnTo>
                  <a:pt x="2349754" y="240030"/>
                </a:lnTo>
                <a:lnTo>
                  <a:pt x="2326449" y="237775"/>
                </a:lnTo>
                <a:close/>
              </a:path>
              <a:path w="2362835" h="278129">
                <a:moveTo>
                  <a:pt x="2337786" y="232546"/>
                </a:moveTo>
                <a:lnTo>
                  <a:pt x="2326449" y="237775"/>
                </a:lnTo>
                <a:lnTo>
                  <a:pt x="2349754" y="240030"/>
                </a:lnTo>
                <a:lnTo>
                  <a:pt x="2349857" y="238887"/>
                </a:lnTo>
                <a:lnTo>
                  <a:pt x="2346579" y="238887"/>
                </a:lnTo>
                <a:lnTo>
                  <a:pt x="2337786" y="232546"/>
                </a:lnTo>
                <a:close/>
              </a:path>
              <a:path w="2362835" h="278129">
                <a:moveTo>
                  <a:pt x="2279650" y="175006"/>
                </a:moveTo>
                <a:lnTo>
                  <a:pt x="2275713" y="175640"/>
                </a:lnTo>
                <a:lnTo>
                  <a:pt x="2273554" y="178434"/>
                </a:lnTo>
                <a:lnTo>
                  <a:pt x="2271522" y="181228"/>
                </a:lnTo>
                <a:lnTo>
                  <a:pt x="2272157" y="185293"/>
                </a:lnTo>
                <a:lnTo>
                  <a:pt x="2275078" y="187325"/>
                </a:lnTo>
                <a:lnTo>
                  <a:pt x="2327601" y="225201"/>
                </a:lnTo>
                <a:lnTo>
                  <a:pt x="2350897" y="227456"/>
                </a:lnTo>
                <a:lnTo>
                  <a:pt x="2349754" y="240030"/>
                </a:lnTo>
                <a:lnTo>
                  <a:pt x="2351786" y="240030"/>
                </a:lnTo>
                <a:lnTo>
                  <a:pt x="2362835" y="234950"/>
                </a:lnTo>
                <a:lnTo>
                  <a:pt x="2279650" y="175006"/>
                </a:lnTo>
                <a:close/>
              </a:path>
              <a:path w="2362835" h="278129">
                <a:moveTo>
                  <a:pt x="2347722" y="227965"/>
                </a:moveTo>
                <a:lnTo>
                  <a:pt x="2337786" y="232546"/>
                </a:lnTo>
                <a:lnTo>
                  <a:pt x="2346579" y="238887"/>
                </a:lnTo>
                <a:lnTo>
                  <a:pt x="2347722" y="227965"/>
                </a:lnTo>
                <a:close/>
              </a:path>
              <a:path w="2362835" h="278129">
                <a:moveTo>
                  <a:pt x="2350850" y="227965"/>
                </a:moveTo>
                <a:lnTo>
                  <a:pt x="2347722" y="227965"/>
                </a:lnTo>
                <a:lnTo>
                  <a:pt x="2346579" y="238887"/>
                </a:lnTo>
                <a:lnTo>
                  <a:pt x="2349857" y="238887"/>
                </a:lnTo>
                <a:lnTo>
                  <a:pt x="2350850" y="227965"/>
                </a:lnTo>
                <a:close/>
              </a:path>
              <a:path w="2362835" h="278129">
                <a:moveTo>
                  <a:pt x="1270" y="0"/>
                </a:moveTo>
                <a:lnTo>
                  <a:pt x="0" y="12700"/>
                </a:lnTo>
                <a:lnTo>
                  <a:pt x="2326449" y="237775"/>
                </a:lnTo>
                <a:lnTo>
                  <a:pt x="2337786" y="232546"/>
                </a:lnTo>
                <a:lnTo>
                  <a:pt x="2327601" y="225201"/>
                </a:lnTo>
                <a:lnTo>
                  <a:pt x="1270" y="0"/>
                </a:lnTo>
                <a:close/>
              </a:path>
              <a:path w="2362835" h="278129">
                <a:moveTo>
                  <a:pt x="2327601" y="225201"/>
                </a:moveTo>
                <a:lnTo>
                  <a:pt x="2337786" y="232546"/>
                </a:lnTo>
                <a:lnTo>
                  <a:pt x="2347722" y="227965"/>
                </a:lnTo>
                <a:lnTo>
                  <a:pt x="2350850" y="227965"/>
                </a:lnTo>
                <a:lnTo>
                  <a:pt x="2350897" y="227456"/>
                </a:lnTo>
                <a:lnTo>
                  <a:pt x="2327601" y="225201"/>
                </a:lnTo>
                <a:close/>
              </a:path>
            </a:pathLst>
          </a:custGeom>
          <a:solidFill>
            <a:srgbClr val="497D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7106FB8A-43EB-4DB7-90DD-7C1C9808F608}"/>
              </a:ext>
            </a:extLst>
          </p:cNvPr>
          <p:cNvSpPr txBox="1"/>
          <p:nvPr/>
        </p:nvSpPr>
        <p:spPr>
          <a:xfrm>
            <a:off x="5189379" y="4467124"/>
            <a:ext cx="2730500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Used</a:t>
            </a:r>
            <a:r>
              <a:rPr sz="1800" spc="-4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when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you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handle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25" dirty="0">
                <a:latin typeface="Arial"/>
                <a:cs typeface="Arial"/>
              </a:rPr>
              <a:t>the </a:t>
            </a:r>
            <a:r>
              <a:rPr sz="1800" dirty="0">
                <a:latin typeface="Arial"/>
                <a:cs typeface="Arial"/>
              </a:rPr>
              <a:t>exception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n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ifferent place</a:t>
            </a:r>
            <a:endParaRPr sz="1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156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C62821-C0BC-140E-9435-AC7985FFB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FECE8F7-8994-25AC-181A-00E064048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ECE8F7-8994-25AC-181A-00E064048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F846404-9428-FDCC-4477-4A5783453C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D7F87AC-AC95-FB51-4754-272CEC1F61D3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B770B38-A885-A455-EA2A-09CF5DB26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6B67FA3-1BF7-306B-AF8A-E7BB696387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5AE58DB-FB73-DC60-857D-0DB9D6BB02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119B917-6F9C-83BF-3848-4179D918A3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9744D60-6F50-21E0-D5B5-9A6D3B5E073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FEC0E248-6471-4190-2899-08E5A2083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4DF87F-2138-7C14-7A74-5D01EB2311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3200" b="1" dirty="0"/>
              <a:t>Interface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Helps to achieve multiple implementation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• Pure abstract class (can’t be instantiated)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Can have abstract methods, default methods, static methods.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Variables are public static final by default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• Interfaces must be implemented by classes to give functionality to the methods 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92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55" dirty="0"/>
              <a:t> </a:t>
            </a:r>
            <a:r>
              <a:rPr lang="en-US" sz="2000" dirty="0"/>
              <a:t>for</a:t>
            </a:r>
            <a:r>
              <a:rPr lang="en-US" sz="2000" spc="-70" dirty="0"/>
              <a:t> </a:t>
            </a:r>
            <a:r>
              <a:rPr lang="en-US" sz="2000" dirty="0"/>
              <a:t>try</a:t>
            </a:r>
            <a:r>
              <a:rPr lang="en-US" sz="2000" spc="-60" dirty="0"/>
              <a:t> </a:t>
            </a:r>
            <a:r>
              <a:rPr lang="en-US" sz="2000" dirty="0"/>
              <a:t>–</a:t>
            </a:r>
            <a:r>
              <a:rPr lang="en-US" sz="2000" spc="-60" dirty="0"/>
              <a:t> </a:t>
            </a:r>
            <a:r>
              <a:rPr lang="en-US" sz="2000" spc="-10" dirty="0"/>
              <a:t>catch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2000" dirty="0">
              <a:latin typeface="Carlito"/>
              <a:cs typeface="Carlito"/>
            </a:endParaRPr>
          </a:p>
        </p:txBody>
      </p:sp>
      <p:pic>
        <p:nvPicPr>
          <p:cNvPr id="3" name="object 4">
            <a:extLst>
              <a:ext uri="{FF2B5EF4-FFF2-40B4-BE49-F238E27FC236}">
                <a16:creationId xmlns:a16="http://schemas.microsoft.com/office/drawing/2014/main" id="{20AA3775-FEEE-0179-98FC-BF94E0041EC5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09369" y="1495045"/>
            <a:ext cx="5152644" cy="4067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92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70" dirty="0"/>
              <a:t> </a:t>
            </a:r>
            <a:r>
              <a:rPr lang="en-US" sz="2000" dirty="0"/>
              <a:t>for</a:t>
            </a:r>
            <a:r>
              <a:rPr lang="en-US" sz="2000" spc="-90" dirty="0"/>
              <a:t> </a:t>
            </a:r>
            <a:r>
              <a:rPr lang="en-US" sz="2000" spc="-10" dirty="0"/>
              <a:t>try-</a:t>
            </a:r>
            <a:r>
              <a:rPr lang="en-US" sz="2000" spc="-25" dirty="0"/>
              <a:t>catch-</a:t>
            </a:r>
            <a:r>
              <a:rPr lang="en-US" sz="2000" spc="-10" dirty="0"/>
              <a:t>catch</a:t>
            </a: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FC17237A-6BF6-10BD-24D6-A50B2F3E95FD}"/>
              </a:ext>
            </a:extLst>
          </p:cNvPr>
          <p:cNvGrpSpPr/>
          <p:nvPr/>
        </p:nvGrpSpPr>
        <p:grpSpPr>
          <a:xfrm>
            <a:off x="600455" y="1591055"/>
            <a:ext cx="6745605" cy="4006850"/>
            <a:chOff x="600455" y="1591055"/>
            <a:chExt cx="6745605" cy="400685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6025647D-4DF4-CD6A-F732-1773EDADC87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9599" y="1600199"/>
              <a:ext cx="6726935" cy="3988308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6B6EC78A-CA2B-BFF8-1C34-93A34C9AB494}"/>
                </a:ext>
              </a:extLst>
            </p:cNvPr>
            <p:cNvSpPr/>
            <p:nvPr/>
          </p:nvSpPr>
          <p:spPr>
            <a:xfrm>
              <a:off x="605027" y="1595627"/>
              <a:ext cx="6736080" cy="3997960"/>
            </a:xfrm>
            <a:custGeom>
              <a:avLst/>
              <a:gdLst/>
              <a:ahLst/>
              <a:cxnLst/>
              <a:rect l="l" t="t" r="r" b="b"/>
              <a:pathLst>
                <a:path w="6736080" h="3997960">
                  <a:moveTo>
                    <a:pt x="0" y="3997452"/>
                  </a:moveTo>
                  <a:lnTo>
                    <a:pt x="6736080" y="3997452"/>
                  </a:lnTo>
                  <a:lnTo>
                    <a:pt x="6736080" y="0"/>
                  </a:lnTo>
                  <a:lnTo>
                    <a:pt x="0" y="0"/>
                  </a:lnTo>
                  <a:lnTo>
                    <a:pt x="0" y="399745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5477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Multiple</a:t>
            </a:r>
            <a:r>
              <a:rPr lang="en-US" sz="2000" spc="-155" dirty="0"/>
              <a:t> </a:t>
            </a:r>
            <a:r>
              <a:rPr lang="en-US" sz="2000" spc="-20" dirty="0"/>
              <a:t>Catch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1765" y="1132464"/>
            <a:ext cx="7834313" cy="4608855"/>
          </a:xfrm>
        </p:spPr>
        <p:txBody>
          <a:bodyPr/>
          <a:lstStyle/>
          <a:p>
            <a:pPr marL="353060" marR="5715" indent="-340995" algn="just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509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ltiple</a:t>
            </a:r>
            <a:r>
              <a:rPr lang="en-US" sz="1600" spc="5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,</a:t>
            </a:r>
            <a:r>
              <a:rPr lang="en-US" sz="1600" spc="509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509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bclass</a:t>
            </a:r>
            <a:r>
              <a:rPr lang="en-US" sz="1600" spc="5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s</a:t>
            </a:r>
            <a:r>
              <a:rPr lang="en-US" sz="1600" spc="5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st</a:t>
            </a:r>
            <a:r>
              <a:rPr lang="en-US" sz="1600" spc="52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come </a:t>
            </a:r>
            <a:r>
              <a:rPr lang="en-US" sz="1600" dirty="0">
                <a:latin typeface="Arial"/>
                <a:cs typeface="Arial"/>
              </a:rPr>
              <a:t>befor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y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ir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perclas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s</a:t>
            </a:r>
            <a:endParaRPr lang="en-US" sz="1600" dirty="0">
              <a:latin typeface="Arial"/>
              <a:cs typeface="Arial"/>
            </a:endParaRPr>
          </a:p>
          <a:p>
            <a:pPr marL="353060" marR="6985" indent="-340995" algn="just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1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1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</a:t>
            </a:r>
            <a:r>
              <a:rPr lang="en-US" sz="1600" spc="1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tatement</a:t>
            </a:r>
            <a:r>
              <a:rPr lang="en-US" sz="1600" spc="1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s</a:t>
            </a:r>
            <a:r>
              <a:rPr lang="en-US" sz="1600" spc="1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1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perclass</a:t>
            </a:r>
            <a:r>
              <a:rPr lang="en-US" sz="1600" spc="1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1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irst,</a:t>
            </a:r>
            <a:r>
              <a:rPr lang="en-US" sz="1600" spc="15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 </a:t>
            </a:r>
            <a:r>
              <a:rPr lang="en-US" sz="1600" dirty="0">
                <a:latin typeface="Arial"/>
                <a:cs typeface="Arial"/>
              </a:rPr>
              <a:t>will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tch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ell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s </a:t>
            </a:r>
            <a:r>
              <a:rPr lang="en-US" sz="1600" spc="-25" dirty="0">
                <a:latin typeface="Arial"/>
                <a:cs typeface="Arial"/>
              </a:rPr>
              <a:t>of 	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10" dirty="0">
                <a:latin typeface="Arial"/>
                <a:cs typeface="Arial"/>
              </a:rPr>
              <a:t> subclasses </a:t>
            </a:r>
            <a:r>
              <a:rPr lang="en-US" sz="1600" dirty="0">
                <a:latin typeface="Arial"/>
                <a:cs typeface="Arial"/>
              </a:rPr>
              <a:t>so</a:t>
            </a:r>
            <a:r>
              <a:rPr lang="en-US" sz="1600" spc="4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4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bclass</a:t>
            </a:r>
            <a:r>
              <a:rPr lang="en-US" sz="1600" spc="4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4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ould</a:t>
            </a:r>
            <a:r>
              <a:rPr lang="en-US" sz="1600" spc="4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ever</a:t>
            </a:r>
            <a:r>
              <a:rPr lang="en-US" sz="1600" spc="4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4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ached</a:t>
            </a:r>
            <a:r>
              <a:rPr lang="en-US" sz="1600" spc="44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that </a:t>
            </a:r>
            <a:r>
              <a:rPr lang="en-US" sz="1600" dirty="0">
                <a:latin typeface="Arial"/>
                <a:cs typeface="Arial"/>
              </a:rPr>
              <a:t>manifest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b="1" i="1" dirty="0">
                <a:solidFill>
                  <a:srgbClr val="FF0000"/>
                </a:solidFill>
                <a:latin typeface="Arial"/>
                <a:cs typeface="Arial"/>
              </a:rPr>
              <a:t>unreachable</a:t>
            </a:r>
            <a:r>
              <a:rPr lang="en-US" sz="1600" b="1" i="1" spc="-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600" b="1" i="1" dirty="0">
                <a:solidFill>
                  <a:srgbClr val="FF0000"/>
                </a:solidFill>
                <a:latin typeface="Arial"/>
                <a:cs typeface="Arial"/>
              </a:rPr>
              <a:t>code</a:t>
            </a:r>
            <a:r>
              <a:rPr lang="en-US" sz="1600" b="1" i="1" spc="-5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600" b="1" i="1" spc="-10" dirty="0">
                <a:solidFill>
                  <a:srgbClr val="FF0000"/>
                </a:solidFill>
                <a:latin typeface="Arial"/>
                <a:cs typeface="Arial"/>
              </a:rPr>
              <a:t>error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AA4CF521-FBC1-249D-22A6-978A5313CA91}"/>
              </a:ext>
            </a:extLst>
          </p:cNvPr>
          <p:cNvGrpSpPr/>
          <p:nvPr/>
        </p:nvGrpSpPr>
        <p:grpSpPr>
          <a:xfrm>
            <a:off x="596337" y="2671572"/>
            <a:ext cx="7828915" cy="3957828"/>
            <a:chOff x="528827" y="1604772"/>
            <a:chExt cx="7828915" cy="441960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C9B2F6B6-9D7E-CBF0-631C-1DD7810B20F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33399" y="1609344"/>
              <a:ext cx="6828591" cy="4029456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4BCD3C3B-5394-0BA3-5A0C-ACC00B2A4F18}"/>
                </a:ext>
              </a:extLst>
            </p:cNvPr>
            <p:cNvSpPr/>
            <p:nvPr/>
          </p:nvSpPr>
          <p:spPr>
            <a:xfrm>
              <a:off x="528827" y="1604772"/>
              <a:ext cx="7828915" cy="4419600"/>
            </a:xfrm>
            <a:custGeom>
              <a:avLst/>
              <a:gdLst/>
              <a:ahLst/>
              <a:cxnLst/>
              <a:rect l="l" t="t" r="r" b="b"/>
              <a:pathLst>
                <a:path w="7828915" h="4419600">
                  <a:moveTo>
                    <a:pt x="0" y="4419600"/>
                  </a:moveTo>
                  <a:lnTo>
                    <a:pt x="7828788" y="4419600"/>
                  </a:lnTo>
                  <a:lnTo>
                    <a:pt x="7828788" y="0"/>
                  </a:lnTo>
                  <a:lnTo>
                    <a:pt x="0" y="0"/>
                  </a:lnTo>
                  <a:lnTo>
                    <a:pt x="0" y="441960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2222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Finally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leasing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sources(clean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p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de)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Will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ecut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oth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ses,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ou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en-US" sz="1600" b="1" dirty="0">
                <a:latin typeface="Arial"/>
                <a:cs typeface="Arial"/>
              </a:rPr>
              <a:t>when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exception</a:t>
            </a:r>
            <a:r>
              <a:rPr lang="en-US" sz="1600" b="1" spc="-2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occurs(</a:t>
            </a:r>
            <a:r>
              <a:rPr lang="en-US" sz="1600" b="1" spc="-10" dirty="0" err="1">
                <a:latin typeface="Arial"/>
                <a:cs typeface="Arial"/>
              </a:rPr>
              <a:t>try+catch+finally</a:t>
            </a:r>
            <a:r>
              <a:rPr lang="en-US" sz="1600" b="1" spc="-1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Statemen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fter</a:t>
            </a:r>
            <a:r>
              <a:rPr lang="en-US" sz="1600" spc="36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ry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lock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1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4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A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matching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tch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All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statements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inally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4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Statements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fter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inally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lso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545"/>
              </a:spcBef>
            </a:pPr>
            <a:r>
              <a:rPr lang="en-US" sz="1600" b="1" dirty="0">
                <a:latin typeface="Arial"/>
                <a:cs typeface="Arial"/>
              </a:rPr>
              <a:t>when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exception</a:t>
            </a:r>
            <a:r>
              <a:rPr lang="en-US" sz="1600" b="1" spc="-2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occurs(</a:t>
            </a:r>
            <a:r>
              <a:rPr lang="en-US" sz="1600" b="1" spc="-10" dirty="0" err="1">
                <a:latin typeface="Arial"/>
                <a:cs typeface="Arial"/>
              </a:rPr>
              <a:t>try+finally</a:t>
            </a:r>
            <a:r>
              <a:rPr lang="en-US" sz="1600" b="1" spc="-1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Statement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fter</a:t>
            </a:r>
            <a:r>
              <a:rPr lang="en-US" sz="1600" spc="36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ry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lock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1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4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All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statements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inally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spc="-10" dirty="0">
                <a:latin typeface="Carlito"/>
                <a:cs typeface="Carlito"/>
              </a:rPr>
              <a:t>Statements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fter</a:t>
            </a:r>
            <a:r>
              <a:rPr lang="en-US" sz="1600" spc="-1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inally</a:t>
            </a:r>
            <a:r>
              <a:rPr lang="en-US" sz="1600" spc="-1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will</a:t>
            </a:r>
            <a:r>
              <a:rPr lang="en-US" sz="1600" spc="-1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t</a:t>
            </a:r>
            <a:r>
              <a:rPr lang="en-US" sz="1600" spc="37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be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ecuted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4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Searches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or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</a:t>
            </a:r>
            <a:r>
              <a:rPr lang="en-US" sz="1600" spc="-6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matching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tch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n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lling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part.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dirty="0">
                <a:latin typeface="Carlito"/>
                <a:cs typeface="Carlito"/>
              </a:rPr>
              <a:t>If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no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atch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s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found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JVM</a:t>
            </a:r>
            <a:r>
              <a:rPr lang="en-US" sz="1600" spc="-3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catches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2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exception</a:t>
            </a:r>
            <a:endParaRPr lang="en-US" sz="1600" dirty="0">
              <a:latin typeface="Carlito"/>
              <a:cs typeface="Carlito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290235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15" dirty="0"/>
              <a:t> </a:t>
            </a:r>
            <a:r>
              <a:rPr lang="en-US" sz="2000" dirty="0"/>
              <a:t>of</a:t>
            </a:r>
            <a:r>
              <a:rPr lang="en-US" sz="2000" spc="30" dirty="0"/>
              <a:t> </a:t>
            </a:r>
            <a:r>
              <a:rPr lang="en-US" sz="2000" spc="-20" dirty="0"/>
              <a:t>try-</a:t>
            </a:r>
            <a:r>
              <a:rPr lang="en-US" sz="2000" spc="-10" dirty="0"/>
              <a:t>catch-finally/try-finally :</a:t>
            </a:r>
            <a:endParaRPr lang="en-US" sz="2000" dirty="0"/>
          </a:p>
        </p:txBody>
      </p:sp>
      <p:pic>
        <p:nvPicPr>
          <p:cNvPr id="3" name="object 4">
            <a:extLst>
              <a:ext uri="{FF2B5EF4-FFF2-40B4-BE49-F238E27FC236}">
                <a16:creationId xmlns:a16="http://schemas.microsoft.com/office/drawing/2014/main" id="{3C7160DC-443F-D593-8785-A890AA47CEA8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85799" y="1600199"/>
            <a:ext cx="7220711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09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Throw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39370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lac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where </a:t>
            </a: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a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alled.</a:t>
            </a:r>
            <a:endParaRPr lang="en-US" sz="1600" dirty="0">
              <a:latin typeface="Arial"/>
              <a:cs typeface="Arial"/>
            </a:endParaRPr>
          </a:p>
          <a:p>
            <a:pPr marL="355600" marR="64135" indent="-343535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houl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ndle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urrent </a:t>
            </a:r>
            <a:r>
              <a:rPr lang="en-US" sz="1600" dirty="0">
                <a:latin typeface="Arial"/>
                <a:cs typeface="Arial"/>
              </a:rPr>
              <a:t>method,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u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hrown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29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neral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m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s:</a:t>
            </a:r>
            <a:endParaRPr lang="en-US" sz="1600" dirty="0">
              <a:latin typeface="Arial"/>
              <a:cs typeface="Arial"/>
            </a:endParaRPr>
          </a:p>
          <a:p>
            <a:pPr marL="469900">
              <a:lnSpc>
                <a:spcPct val="100000"/>
              </a:lnSpc>
              <a:spcBef>
                <a:spcPts val="170"/>
              </a:spcBef>
              <a:tabLst>
                <a:tab pos="756285" algn="l"/>
              </a:tabLst>
            </a:pPr>
            <a:r>
              <a:rPr lang="en-US" sz="1600" spc="-50" dirty="0">
                <a:latin typeface="Arial"/>
                <a:cs typeface="Arial"/>
              </a:rPr>
              <a:t>–</a:t>
            </a:r>
            <a:r>
              <a:rPr lang="en-US" sz="1600" dirty="0">
                <a:latin typeface="Arial"/>
                <a:cs typeface="Arial"/>
              </a:rPr>
              <a:t>	</a:t>
            </a:r>
            <a:r>
              <a:rPr lang="en-US" sz="1600" dirty="0">
                <a:latin typeface="Carlito"/>
                <a:cs typeface="Carlito"/>
              </a:rPr>
              <a:t>throw</a:t>
            </a:r>
            <a:r>
              <a:rPr lang="en-US" sz="1600" spc="-95" dirty="0">
                <a:latin typeface="Carlito"/>
                <a:cs typeface="Carlito"/>
              </a:rPr>
              <a:t> </a:t>
            </a:r>
            <a:r>
              <a:rPr lang="en-US" sz="1600" b="1" i="1" spc="-10" dirty="0" err="1">
                <a:latin typeface="Carlito"/>
                <a:cs typeface="Carlito"/>
              </a:rPr>
              <a:t>ThrowableInstance</a:t>
            </a:r>
            <a:endParaRPr lang="en-US"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spcBef>
                <a:spcPts val="1040"/>
              </a:spcBef>
            </a:pPr>
            <a:endParaRPr lang="en-US" sz="1600" dirty="0">
              <a:latin typeface="Carlito"/>
              <a:cs typeface="Carlito"/>
            </a:endParaRPr>
          </a:p>
          <a:p>
            <a:pPr marL="12700">
              <a:lnSpc>
                <a:spcPts val="2280"/>
              </a:lnSpc>
            </a:pPr>
            <a:r>
              <a:rPr lang="en-US" sz="1600" dirty="0">
                <a:latin typeface="Arial"/>
                <a:cs typeface="Arial"/>
              </a:rPr>
              <a:t>where</a:t>
            </a:r>
            <a:r>
              <a:rPr lang="en-US" sz="1600" spc="105" dirty="0">
                <a:latin typeface="Arial"/>
                <a:cs typeface="Arial"/>
              </a:rPr>
              <a:t> </a:t>
            </a:r>
            <a:r>
              <a:rPr lang="en-US" sz="1600" b="1" i="1" dirty="0" err="1">
                <a:latin typeface="Arial"/>
                <a:cs typeface="Arial"/>
              </a:rPr>
              <a:t>ThrowableInstance</a:t>
            </a:r>
            <a:r>
              <a:rPr lang="en-US" sz="1600" b="1" i="1" spc="9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st</a:t>
            </a:r>
            <a:r>
              <a:rPr lang="en-US" sz="1600" spc="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10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9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</a:t>
            </a:r>
            <a:r>
              <a:rPr lang="en-US" sz="1600" spc="9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Throwable</a:t>
            </a:r>
            <a:r>
              <a:rPr lang="en-US" sz="1600" dirty="0">
                <a:latin typeface="Arial"/>
                <a:cs typeface="Arial"/>
              </a:rPr>
              <a:t>,</a:t>
            </a:r>
            <a:r>
              <a:rPr lang="en-US" sz="1600" spc="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95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ts val="2280"/>
              </a:lnSpc>
            </a:pPr>
            <a:r>
              <a:rPr lang="en-US" sz="1600" dirty="0">
                <a:latin typeface="Arial"/>
                <a:cs typeface="Arial"/>
              </a:rPr>
              <a:t>subclas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Throwable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80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600" dirty="0" err="1">
                <a:latin typeface="Arial"/>
                <a:cs typeface="Arial"/>
              </a:rPr>
              <a:t>eg.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throw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new</a:t>
            </a:r>
            <a:r>
              <a:rPr lang="en-US" sz="1600" b="1" i="1" spc="-85" dirty="0">
                <a:latin typeface="Arial"/>
                <a:cs typeface="Arial"/>
              </a:rPr>
              <a:t> </a:t>
            </a:r>
            <a:r>
              <a:rPr lang="en-US" sz="1600" b="1" i="1" spc="-10" dirty="0" err="1">
                <a:latin typeface="Arial"/>
                <a:cs typeface="Arial"/>
              </a:rPr>
              <a:t>ArithmeticException</a:t>
            </a:r>
            <a:r>
              <a:rPr lang="en-US" sz="1600" b="1" i="1" spc="-10" dirty="0">
                <a:latin typeface="Arial"/>
                <a:cs typeface="Arial"/>
              </a:rPr>
              <a:t>();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247229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More</a:t>
            </a:r>
            <a:r>
              <a:rPr lang="en-US" sz="2000" spc="-65" dirty="0"/>
              <a:t> </a:t>
            </a:r>
            <a:r>
              <a:rPr lang="en-US" sz="2000" dirty="0"/>
              <a:t>on</a:t>
            </a:r>
            <a:r>
              <a:rPr lang="en-US" sz="2000" spc="-75" dirty="0"/>
              <a:t> </a:t>
            </a:r>
            <a:r>
              <a:rPr lang="en-US" sz="2000" spc="-20" dirty="0"/>
              <a:t>throw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lang="en-US" sz="2400" b="1" spc="-10" dirty="0" err="1">
                <a:latin typeface="Arial"/>
                <a:cs typeface="Arial"/>
              </a:rPr>
              <a:t>RuntimeException</a:t>
            </a:r>
            <a:r>
              <a:rPr lang="en-US" sz="2400" b="1" spc="-10" dirty="0">
                <a:latin typeface="Arial"/>
                <a:cs typeface="Arial"/>
              </a:rPr>
              <a:t>(Unchecked)</a:t>
            </a: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untim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,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you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ithe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ndl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with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tabLst>
                <a:tab pos="2498725" algn="l"/>
              </a:tabLst>
            </a:pPr>
            <a:r>
              <a:rPr lang="en-US" sz="1600" b="1" i="1" dirty="0">
                <a:latin typeface="Arial"/>
                <a:cs typeface="Arial"/>
              </a:rPr>
              <a:t>try/catch</a:t>
            </a:r>
            <a:r>
              <a:rPr lang="en-US" sz="1600" b="1" i="1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llow</a:t>
            </a:r>
            <a:r>
              <a:rPr lang="en-US" sz="1600" dirty="0">
                <a:latin typeface="Arial"/>
                <a:cs typeface="Arial"/>
              </a:rPr>
              <a:t>	</a:t>
            </a:r>
            <a:r>
              <a:rPr lang="en-US" sz="1600" b="1" i="1" dirty="0">
                <a:latin typeface="Arial"/>
                <a:cs typeface="Arial"/>
              </a:rPr>
              <a:t>JVM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to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handle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155"/>
              </a:spcBef>
            </a:pPr>
            <a:endParaRPr lang="en-US" sz="2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2400" b="1" spc="-10" dirty="0" err="1">
                <a:latin typeface="Arial"/>
                <a:cs typeface="Arial"/>
              </a:rPr>
              <a:t>CompileException</a:t>
            </a:r>
            <a:r>
              <a:rPr lang="en-US" sz="2400" b="1" spc="-10" dirty="0">
                <a:latin typeface="Arial"/>
                <a:cs typeface="Arial"/>
              </a:rPr>
              <a:t>(Checked)</a:t>
            </a: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hecke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,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40"/>
              </a:spcBef>
              <a:buChar char="–"/>
              <a:tabLst>
                <a:tab pos="756285" algn="l"/>
              </a:tabLst>
            </a:pPr>
            <a:r>
              <a:rPr lang="en-US" sz="1600" dirty="0">
                <a:latin typeface="Arial"/>
                <a:cs typeface="Arial"/>
              </a:rPr>
              <a:t>Declar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s </a:t>
            </a:r>
            <a:r>
              <a:rPr lang="en-US" sz="1600" spc="-10" dirty="0">
                <a:latin typeface="Arial"/>
                <a:cs typeface="Arial"/>
              </a:rPr>
              <a:t>keyword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34"/>
              </a:spcBef>
              <a:buChar char="–"/>
              <a:tabLst>
                <a:tab pos="756285" algn="l"/>
                <a:tab pos="3562350" algn="l"/>
                <a:tab pos="5875020" algn="l"/>
              </a:tabLst>
            </a:pPr>
            <a:r>
              <a:rPr lang="en-US" sz="1600" dirty="0">
                <a:latin typeface="Arial"/>
                <a:cs typeface="Arial"/>
              </a:rPr>
              <a:t>Whe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you</a:t>
            </a:r>
            <a:r>
              <a:rPr lang="en-US" sz="1600" spc="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ll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method</a:t>
            </a:r>
            <a:r>
              <a:rPr lang="en-US" sz="1600" dirty="0">
                <a:latin typeface="Arial"/>
                <a:cs typeface="Arial"/>
              </a:rPr>
              <a:t>	call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in</a:t>
            </a:r>
            <a:r>
              <a:rPr lang="en-US" sz="1600" spc="30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try/catch</a:t>
            </a:r>
            <a:r>
              <a:rPr lang="en-US" sz="1600" b="1" i="1" dirty="0">
                <a:latin typeface="Arial"/>
                <a:cs typeface="Arial"/>
              </a:rPr>
              <a:t>	</a:t>
            </a:r>
            <a:r>
              <a:rPr lang="en-US" sz="1600" spc="-10" dirty="0">
                <a:latin typeface="Arial"/>
                <a:cs typeface="Arial"/>
              </a:rPr>
              <a:t>block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Char char="–"/>
              <a:tabLst>
                <a:tab pos="756285" algn="l"/>
              </a:tabLst>
            </a:pPr>
            <a:r>
              <a:rPr lang="en-US" sz="1600" spc="-80" dirty="0">
                <a:latin typeface="Arial"/>
                <a:cs typeface="Arial"/>
              </a:rPr>
              <a:t>To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low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JVM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ndl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,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ch</a:t>
            </a:r>
            <a:r>
              <a:rPr lang="en-US" sz="1600" spc="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lling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s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with</a:t>
            </a:r>
            <a:endParaRPr lang="en-US" sz="1600" dirty="0">
              <a:latin typeface="Arial"/>
              <a:cs typeface="Arial"/>
            </a:endParaRPr>
          </a:p>
          <a:p>
            <a:pPr marL="756285">
              <a:lnSpc>
                <a:spcPct val="100000"/>
              </a:lnSpc>
              <a:spcBef>
                <a:spcPts val="5"/>
              </a:spcBef>
            </a:pPr>
            <a:r>
              <a:rPr lang="en-US" sz="1600" dirty="0">
                <a:latin typeface="Arial"/>
                <a:cs typeface="Arial"/>
              </a:rPr>
              <a:t>throw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keyword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20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88177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100" dirty="0"/>
              <a:t> </a:t>
            </a:r>
            <a:r>
              <a:rPr lang="en-US" sz="2000" dirty="0"/>
              <a:t>for</a:t>
            </a:r>
            <a:r>
              <a:rPr lang="en-US" sz="2000" spc="-120" dirty="0"/>
              <a:t> </a:t>
            </a:r>
            <a:r>
              <a:rPr lang="en-US" sz="2000" spc="-10" dirty="0"/>
              <a:t>throw :</a:t>
            </a: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34B555DF-132E-AB77-F6B8-D09E38DDE87C}"/>
              </a:ext>
            </a:extLst>
          </p:cNvPr>
          <p:cNvGrpSpPr/>
          <p:nvPr/>
        </p:nvGrpSpPr>
        <p:grpSpPr>
          <a:xfrm>
            <a:off x="448055" y="1620011"/>
            <a:ext cx="5047615" cy="4485640"/>
            <a:chOff x="448055" y="1620011"/>
            <a:chExt cx="5047615" cy="448564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F1DF3B17-5255-62AE-A3BF-F49D5427E6A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199" y="1629155"/>
              <a:ext cx="5029200" cy="1705356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72F9FCB1-B960-54F3-71C0-B6F537AAC5BB}"/>
                </a:ext>
              </a:extLst>
            </p:cNvPr>
            <p:cNvSpPr/>
            <p:nvPr/>
          </p:nvSpPr>
          <p:spPr>
            <a:xfrm>
              <a:off x="452627" y="1624583"/>
              <a:ext cx="5038725" cy="1714500"/>
            </a:xfrm>
            <a:custGeom>
              <a:avLst/>
              <a:gdLst/>
              <a:ahLst/>
              <a:cxnLst/>
              <a:rect l="l" t="t" r="r" b="b"/>
              <a:pathLst>
                <a:path w="5038725" h="1714500">
                  <a:moveTo>
                    <a:pt x="0" y="1714500"/>
                  </a:moveTo>
                  <a:lnTo>
                    <a:pt x="5038344" y="1714500"/>
                  </a:lnTo>
                  <a:lnTo>
                    <a:pt x="5038344" y="0"/>
                  </a:lnTo>
                  <a:lnTo>
                    <a:pt x="0" y="0"/>
                  </a:lnTo>
                  <a:lnTo>
                    <a:pt x="0" y="171450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6">
              <a:extLst>
                <a:ext uri="{FF2B5EF4-FFF2-40B4-BE49-F238E27FC236}">
                  <a16:creationId xmlns:a16="http://schemas.microsoft.com/office/drawing/2014/main" id="{01B25DF8-2DAF-270D-D754-C587D971233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22375" y="3334511"/>
              <a:ext cx="4383024" cy="2761488"/>
            </a:xfrm>
            <a:prstGeom prst="rect">
              <a:avLst/>
            </a:prstGeom>
          </p:spPr>
        </p:pic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4AD1CEF8-78AA-632C-AA7C-0D2B9DFCC99A}"/>
                </a:ext>
              </a:extLst>
            </p:cNvPr>
            <p:cNvSpPr/>
            <p:nvPr/>
          </p:nvSpPr>
          <p:spPr>
            <a:xfrm>
              <a:off x="717803" y="3329939"/>
              <a:ext cx="4392295" cy="2771140"/>
            </a:xfrm>
            <a:custGeom>
              <a:avLst/>
              <a:gdLst/>
              <a:ahLst/>
              <a:cxnLst/>
              <a:rect l="l" t="t" r="r" b="b"/>
              <a:pathLst>
                <a:path w="4392295" h="2771140">
                  <a:moveTo>
                    <a:pt x="0" y="2770632"/>
                  </a:moveTo>
                  <a:lnTo>
                    <a:pt x="4392168" y="2770632"/>
                  </a:lnTo>
                  <a:lnTo>
                    <a:pt x="4392168" y="0"/>
                  </a:lnTo>
                  <a:lnTo>
                    <a:pt x="0" y="0"/>
                  </a:lnTo>
                  <a:lnTo>
                    <a:pt x="0" y="277063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8202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Throws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Mainly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il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im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ny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s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  <a:tabLst>
                <a:tab pos="519430" algn="l"/>
              </a:tabLst>
            </a:pPr>
            <a:r>
              <a:rPr lang="en-US" sz="1600" b="1" i="1" spc="-25" dirty="0">
                <a:latin typeface="Arial"/>
                <a:cs typeface="Arial"/>
              </a:rPr>
              <a:t>   </a:t>
            </a:r>
            <a:r>
              <a:rPr lang="en-US" sz="1600" b="1" i="1" spc="-25" dirty="0" err="1">
                <a:latin typeface="Arial"/>
                <a:cs typeface="Arial"/>
              </a:rPr>
              <a:t>eg.</a:t>
            </a:r>
            <a:r>
              <a:rPr lang="en-US" sz="1600" b="1" i="1" dirty="0">
                <a:latin typeface="Arial"/>
                <a:cs typeface="Arial"/>
              </a:rPr>
              <a:t>	public</a:t>
            </a:r>
            <a:r>
              <a:rPr lang="en-US" sz="1600" b="1" i="1" spc="-3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void</a:t>
            </a:r>
            <a:r>
              <a:rPr lang="en-US" sz="1600" b="1" i="1" spc="-3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withdraw(int</a:t>
            </a:r>
            <a:r>
              <a:rPr lang="en-US" sz="1600" b="1" i="1" spc="-7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amount)</a:t>
            </a:r>
            <a:r>
              <a:rPr lang="en-US" sz="1600" b="1" i="1" spc="-45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throws</a:t>
            </a:r>
            <a:r>
              <a:rPr lang="en-US" sz="1600" b="1" i="1" spc="-40" dirty="0">
                <a:latin typeface="Arial"/>
                <a:cs typeface="Arial"/>
              </a:rPr>
              <a:t> </a:t>
            </a:r>
            <a:r>
              <a:rPr lang="en-US" sz="1600" b="1" i="1" spc="-10" dirty="0" err="1">
                <a:latin typeface="Arial"/>
                <a:cs typeface="Arial"/>
              </a:rPr>
              <a:t>IOException</a:t>
            </a:r>
            <a:r>
              <a:rPr lang="en-US" sz="1600" b="1" i="1" spc="-10" dirty="0">
                <a:latin typeface="Arial"/>
                <a:cs typeface="Arial"/>
              </a:rPr>
              <a:t>, Exception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When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ll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,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mandatory</a:t>
            </a:r>
            <a:endParaRPr lang="en-US" sz="1600" dirty="0">
              <a:latin typeface="Arial"/>
              <a:cs typeface="Arial"/>
            </a:endParaRPr>
          </a:p>
          <a:p>
            <a:pPr marL="756285" marR="5080" indent="-287020">
              <a:lnSpc>
                <a:spcPct val="100000"/>
              </a:lnSpc>
              <a:spcBef>
                <a:spcPts val="440"/>
              </a:spcBef>
              <a:tabLst>
                <a:tab pos="756285" algn="l"/>
              </a:tabLst>
            </a:pPr>
            <a:r>
              <a:rPr lang="en-US" sz="1600" spc="-50" dirty="0">
                <a:latin typeface="Arial"/>
                <a:cs typeface="Arial"/>
              </a:rPr>
              <a:t>–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ithe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ll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in</a:t>
            </a:r>
            <a:r>
              <a:rPr lang="en-US" sz="1600" spc="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ry/catch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lock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alling method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 </a:t>
            </a:r>
            <a:r>
              <a:rPr lang="en-US" sz="1600" dirty="0">
                <a:latin typeface="Arial"/>
                <a:cs typeface="Arial"/>
              </a:rPr>
              <a:t>will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iv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ile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error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348177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100" dirty="0"/>
              <a:t> </a:t>
            </a:r>
            <a:r>
              <a:rPr lang="en-US" sz="2000" dirty="0"/>
              <a:t>for</a:t>
            </a:r>
            <a:r>
              <a:rPr lang="en-US" sz="2000" spc="-120" dirty="0"/>
              <a:t> </a:t>
            </a:r>
            <a:r>
              <a:rPr lang="en-US" sz="2000" spc="-10" dirty="0"/>
              <a:t>throws :</a:t>
            </a: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1512D345-F68E-DF2C-F831-4C4CDEA42659}"/>
              </a:ext>
            </a:extLst>
          </p:cNvPr>
          <p:cNvGrpSpPr/>
          <p:nvPr/>
        </p:nvGrpSpPr>
        <p:grpSpPr>
          <a:xfrm>
            <a:off x="219456" y="1591055"/>
            <a:ext cx="4213860" cy="2990215"/>
            <a:chOff x="219456" y="1591055"/>
            <a:chExt cx="4213860" cy="299021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E02A470E-ED13-890D-665B-D4D538DABE7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8600" y="1600199"/>
              <a:ext cx="4195572" cy="29718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DDC9D27A-7651-19F3-B6C1-7CEAEF586B95}"/>
                </a:ext>
              </a:extLst>
            </p:cNvPr>
            <p:cNvSpPr/>
            <p:nvPr/>
          </p:nvSpPr>
          <p:spPr>
            <a:xfrm>
              <a:off x="224028" y="1595627"/>
              <a:ext cx="4204970" cy="2981325"/>
            </a:xfrm>
            <a:custGeom>
              <a:avLst/>
              <a:gdLst/>
              <a:ahLst/>
              <a:cxnLst/>
              <a:rect l="l" t="t" r="r" b="b"/>
              <a:pathLst>
                <a:path w="4204970" h="2981325">
                  <a:moveTo>
                    <a:pt x="0" y="2980944"/>
                  </a:moveTo>
                  <a:lnTo>
                    <a:pt x="4204716" y="2980944"/>
                  </a:lnTo>
                  <a:lnTo>
                    <a:pt x="4204716" y="0"/>
                  </a:lnTo>
                  <a:lnTo>
                    <a:pt x="0" y="0"/>
                  </a:lnTo>
                  <a:lnTo>
                    <a:pt x="0" y="29809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F84EDC43-91D5-4DCE-2962-27CD0D0BCED5}"/>
              </a:ext>
            </a:extLst>
          </p:cNvPr>
          <p:cNvGrpSpPr/>
          <p:nvPr/>
        </p:nvGrpSpPr>
        <p:grpSpPr>
          <a:xfrm>
            <a:off x="4562855" y="1591055"/>
            <a:ext cx="4407535" cy="2990215"/>
            <a:chOff x="4562855" y="1591055"/>
            <a:chExt cx="4407535" cy="2990215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74570CEA-2CB0-EDF9-6738-960FB65A1BD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71999" y="1600199"/>
              <a:ext cx="4389120" cy="2971800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A72065AE-49D9-AE8C-7EC4-C7B30FE69C08}"/>
                </a:ext>
              </a:extLst>
            </p:cNvPr>
            <p:cNvSpPr/>
            <p:nvPr/>
          </p:nvSpPr>
          <p:spPr>
            <a:xfrm>
              <a:off x="4567427" y="1595627"/>
              <a:ext cx="4398645" cy="2981325"/>
            </a:xfrm>
            <a:custGeom>
              <a:avLst/>
              <a:gdLst/>
              <a:ahLst/>
              <a:cxnLst/>
              <a:rect l="l" t="t" r="r" b="b"/>
              <a:pathLst>
                <a:path w="4398645" h="2981325">
                  <a:moveTo>
                    <a:pt x="0" y="2980944"/>
                  </a:moveTo>
                  <a:lnTo>
                    <a:pt x="4398264" y="2980944"/>
                  </a:lnTo>
                  <a:lnTo>
                    <a:pt x="4398264" y="0"/>
                  </a:lnTo>
                  <a:lnTo>
                    <a:pt x="0" y="0"/>
                  </a:lnTo>
                  <a:lnTo>
                    <a:pt x="0" y="29809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3482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840F2D-0AAD-F1AB-7955-177668C900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CE65271-8B0D-B867-00C6-D5D1C21A8B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E65271-8B0D-B867-00C6-D5D1C21A8B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BFF2617-6623-76AA-7EBC-47BA092253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5D99885-67C8-9123-22F5-92B102AD0251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433C977-EC5F-899B-6C5E-37F81E2F90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BEDCD55-5897-4CE7-7BB5-85AC9C540F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587EE5A8-DBF1-F2D8-BC66-FC1ED38930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95ADA1E-198D-5A12-6A50-587CA7F80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3DCD1E5-0145-9502-2ACB-FA13E8A72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EBA6517-853D-F03B-E241-0F0A0AF7B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568F938-E7FD-4166-6DA1-D54F32950E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622800"/>
            <a:ext cx="7834313" cy="54046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Syntax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800" dirty="0"/>
              <a:t> </a:t>
            </a:r>
            <a:r>
              <a:rPr lang="en-US" sz="2000" dirty="0"/>
              <a:t>interface </a:t>
            </a:r>
            <a:r>
              <a:rPr lang="en-US" sz="2000" dirty="0" err="1"/>
              <a:t>interfacename</a:t>
            </a:r>
            <a:r>
              <a:rPr lang="en-US" sz="2000" dirty="0"/>
              <a:t>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// public static final variable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// abstract method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// default method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//static method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interface fly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int v = 100;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void fly();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default void check(){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}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452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Custom</a:t>
            </a:r>
            <a:r>
              <a:rPr lang="en-US" sz="2000" spc="-114" dirty="0"/>
              <a:t> </a:t>
            </a:r>
            <a:r>
              <a:rPr lang="en-US" sz="2000" spc="-10" dirty="0"/>
              <a:t>Exceptions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ustom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ing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jec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pecific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rrors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193040" indent="-343535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om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ample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k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how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egativ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lance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g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below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requiredlimit</a:t>
            </a:r>
            <a:r>
              <a:rPr lang="en-US" sz="1600" dirty="0">
                <a:latin typeface="Arial"/>
                <a:cs typeface="Arial"/>
              </a:rPr>
              <a:t>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aking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draft,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hecking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asswor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ength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25" dirty="0" err="1">
                <a:latin typeface="Arial"/>
                <a:cs typeface="Arial"/>
              </a:rPr>
              <a:t>etc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  <a:tab pos="4513580" algn="l"/>
              </a:tabLst>
            </a:pPr>
            <a:r>
              <a:rPr lang="en-US" sz="1600" spc="-11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reat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ustom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make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tend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 class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82029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100" dirty="0"/>
              <a:t> </a:t>
            </a:r>
            <a:r>
              <a:rPr lang="en-US" sz="2000" dirty="0"/>
              <a:t>for</a:t>
            </a:r>
            <a:r>
              <a:rPr lang="en-US" sz="2000" spc="-100" dirty="0"/>
              <a:t> </a:t>
            </a:r>
            <a:r>
              <a:rPr lang="en-US" sz="2000" dirty="0"/>
              <a:t>custom</a:t>
            </a:r>
            <a:r>
              <a:rPr lang="en-US" sz="2000" spc="-110" dirty="0"/>
              <a:t> </a:t>
            </a:r>
            <a:r>
              <a:rPr lang="en-US" sz="2000" spc="-10" dirty="0"/>
              <a:t>exception :</a:t>
            </a:r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0C807C-32DB-5CC7-C757-B9F82B4DA2E7}"/>
              </a:ext>
            </a:extLst>
          </p:cNvPr>
          <p:cNvSpPr txBox="1"/>
          <p:nvPr/>
        </p:nvSpPr>
        <p:spPr>
          <a:xfrm>
            <a:off x="472500" y="1173813"/>
            <a:ext cx="7376100" cy="175432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u="sng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extends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Exception {</a:t>
            </a: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String 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str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 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{ 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calling the constructor of parent Exception 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super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str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 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3A460C-86C3-81B8-6756-A212F3B6F473}"/>
              </a:ext>
            </a:extLst>
          </p:cNvPr>
          <p:cNvSpPr txBox="1"/>
          <p:nvPr/>
        </p:nvSpPr>
        <p:spPr>
          <a:xfrm>
            <a:off x="370968" y="2767106"/>
            <a:ext cx="8367713" cy="36933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packag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com.lumen.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;</a:t>
            </a: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TestCustomException1 {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method to check the age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validate(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throws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{</a:t>
            </a: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&lt; 18) {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throw an object of user defined exception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throw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"age is not valid to vote"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{</a:t>
            </a:r>
          </a:p>
          <a:p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urier New" panose="020703090202050204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"welcome to vote"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main method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65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100" dirty="0"/>
              <a:t> </a:t>
            </a:r>
            <a:r>
              <a:rPr lang="en-US" sz="2000" dirty="0"/>
              <a:t>for</a:t>
            </a:r>
            <a:r>
              <a:rPr lang="en-US" sz="2000" spc="-120" dirty="0"/>
              <a:t> </a:t>
            </a:r>
            <a:r>
              <a:rPr lang="en-US" sz="2000" dirty="0"/>
              <a:t>custom</a:t>
            </a:r>
            <a:r>
              <a:rPr lang="en-US" sz="2000" spc="-105" dirty="0"/>
              <a:t> </a:t>
            </a:r>
            <a:r>
              <a:rPr lang="en-US" sz="2000" spc="-10" dirty="0"/>
              <a:t>exception :</a:t>
            </a:r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82345B-CEC8-266D-A6BB-4F66DFB34D9F}"/>
              </a:ext>
            </a:extLst>
          </p:cNvPr>
          <p:cNvSpPr txBox="1"/>
          <p:nvPr/>
        </p:nvSpPr>
        <p:spPr>
          <a:xfrm>
            <a:off x="228600" y="1055667"/>
            <a:ext cx="8196072" cy="36933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main method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void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main(String </a:t>
            </a:r>
            <a:r>
              <a:rPr lang="en-US" sz="1800" dirty="0" err="1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args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[]) {</a:t>
            </a:r>
          </a:p>
          <a:p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try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{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calling the method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i="1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validate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13);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 </a:t>
            </a:r>
            <a:r>
              <a:rPr lang="en-US" sz="1800" b="1" dirty="0">
                <a:solidFill>
                  <a:srgbClr val="7F0055"/>
                </a:solidFill>
                <a:effectLst/>
                <a:latin typeface="Courier New" panose="02070309020205020404" pitchFamily="49" charset="0"/>
              </a:rPr>
              <a:t>catch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ex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 {</a:t>
            </a:r>
          </a:p>
          <a:p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urier New" panose="020703090202050204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"Caught the exception"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</a:t>
            </a:r>
          </a:p>
          <a:p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// printing the message from </a:t>
            </a:r>
            <a:r>
              <a:rPr lang="en-US" sz="1800" dirty="0" err="1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InvalidAgeException</a:t>
            </a:r>
            <a:r>
              <a:rPr lang="en-US" sz="1800" dirty="0">
                <a:solidFill>
                  <a:srgbClr val="3F7F5F"/>
                </a:solidFill>
                <a:effectLst/>
                <a:latin typeface="Courier New" panose="02070309020205020404" pitchFamily="49" charset="0"/>
              </a:rPr>
              <a:t> object</a:t>
            </a:r>
            <a:endParaRPr lang="en-US" sz="1800" dirty="0">
              <a:solidFill>
                <a:srgbClr val="000000"/>
              </a:solidFill>
              <a:effectLst/>
              <a:latin typeface="Courier New" panose="020703090202050204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urier New" panose="020703090202050204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"Exception </a:t>
            </a:r>
            <a:r>
              <a:rPr lang="en-US" sz="1800" dirty="0" err="1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occured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: "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 + </a:t>
            </a:r>
            <a:r>
              <a:rPr lang="en-US" sz="1800" dirty="0">
                <a:solidFill>
                  <a:srgbClr val="6A3E3E"/>
                </a:solidFill>
                <a:effectLst/>
                <a:latin typeface="Courier New" panose="02070309020205020404" pitchFamily="49" charset="0"/>
              </a:rPr>
              <a:t>ex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System.</a:t>
            </a:r>
            <a:r>
              <a:rPr lang="en-US" sz="1800" b="1" i="1" dirty="0" err="1">
                <a:solidFill>
                  <a:srgbClr val="0000C0"/>
                </a:solidFill>
                <a:effectLst/>
                <a:latin typeface="Courier New" panose="02070309020205020404" pitchFamily="49" charset="0"/>
              </a:rPr>
              <a:t>out</a:t>
            </a:r>
            <a:r>
              <a:rPr lang="en-US" sz="1800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.println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(</a:t>
            </a:r>
            <a:r>
              <a:rPr lang="en-US" sz="1800" dirty="0">
                <a:solidFill>
                  <a:srgbClr val="2A00FF"/>
                </a:solidFill>
                <a:effectLst/>
                <a:latin typeface="Courier New" panose="02070309020205020404" pitchFamily="49" charset="0"/>
              </a:rPr>
              <a:t>"rest of the code..."</a:t>
            </a:r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Courier New" panose="020703090202050204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64638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Rules</a:t>
            </a:r>
            <a:r>
              <a:rPr lang="en-US" sz="2000" spc="-110" dirty="0"/>
              <a:t> </a:t>
            </a:r>
            <a:r>
              <a:rPr lang="en-US" sz="2000" dirty="0"/>
              <a:t>for</a:t>
            </a:r>
            <a:r>
              <a:rPr lang="en-US" sz="2000" spc="-120" dirty="0"/>
              <a:t> </a:t>
            </a:r>
            <a:r>
              <a:rPr lang="en-US" sz="2000" dirty="0"/>
              <a:t>overriding</a:t>
            </a:r>
            <a:r>
              <a:rPr lang="en-US" sz="2000" spc="-95" dirty="0"/>
              <a:t> </a:t>
            </a:r>
            <a:r>
              <a:rPr lang="en-US" sz="2000" spc="-10" dirty="0"/>
              <a:t>Exception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ing</a:t>
            </a:r>
            <a:r>
              <a:rPr lang="en-US" sz="1600" spc="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 must</a:t>
            </a:r>
            <a:r>
              <a:rPr lang="en-US" sz="1600" spc="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hecked exceptions</a:t>
            </a:r>
            <a:r>
              <a:rPr lang="en-US" sz="1600" spc="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ew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or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spcBef>
                <a:spcPts val="5"/>
              </a:spcBef>
            </a:pPr>
            <a:r>
              <a:rPr lang="en-US" sz="1600" dirty="0">
                <a:latin typeface="Arial"/>
                <a:cs typeface="Arial"/>
              </a:rPr>
              <a:t>broade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os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d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den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method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950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en-US" sz="1600" dirty="0">
                <a:latin typeface="Arial"/>
                <a:cs typeface="Arial"/>
              </a:rPr>
              <a:t>      </a:t>
            </a:r>
            <a:r>
              <a:rPr lang="en-US" sz="1600" dirty="0" err="1">
                <a:latin typeface="Arial"/>
                <a:cs typeface="Arial"/>
              </a:rPr>
              <a:t>eg</a:t>
            </a:r>
            <a:r>
              <a:rPr lang="en-US" sz="1600" dirty="0">
                <a:latin typeface="Arial"/>
                <a:cs typeface="Arial"/>
              </a:rPr>
              <a:t>:</a:t>
            </a:r>
            <a:r>
              <a:rPr lang="en-US" sz="1600" spc="-1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s(throws)</a:t>
            </a:r>
            <a:r>
              <a:rPr lang="en-US" sz="1600" spc="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SQLExcep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pe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spcBef>
                <a:spcPts val="430"/>
              </a:spcBef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den</a:t>
            </a:r>
            <a:r>
              <a:rPr lang="en-US" sz="1600" spc="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ly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4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bclas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spc="-10" dirty="0" err="1">
                <a:latin typeface="Arial"/>
                <a:cs typeface="Arial"/>
              </a:rPr>
              <a:t>SQLException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955"/>
              </a:spcBef>
            </a:pP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s</a:t>
            </a:r>
            <a:r>
              <a:rPr lang="en-US" sz="1600" spc="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iven</a:t>
            </a:r>
            <a:r>
              <a:rPr lang="en-US" sz="1600" spc="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,</a:t>
            </a:r>
            <a:r>
              <a:rPr lang="en-US" sz="1600" spc="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ing</a:t>
            </a:r>
            <a:r>
              <a:rPr lang="en-US" sz="1600" spc="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90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 </a:t>
            </a:r>
            <a:r>
              <a:rPr lang="en-US" sz="1600" dirty="0">
                <a:latin typeface="Arial"/>
                <a:cs typeface="Arial"/>
              </a:rPr>
              <a:t>subclas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l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clar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w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am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 or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ubclass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9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ul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ppl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nchecked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xceptions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257277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Try</a:t>
            </a:r>
            <a:r>
              <a:rPr lang="en-US" sz="2000" spc="-100" dirty="0"/>
              <a:t> </a:t>
            </a:r>
            <a:r>
              <a:rPr lang="en-US" sz="2000" dirty="0"/>
              <a:t>with</a:t>
            </a:r>
            <a:r>
              <a:rPr lang="en-US" sz="2000" spc="-110" dirty="0"/>
              <a:t> </a:t>
            </a:r>
            <a:r>
              <a:rPr lang="en-US" sz="2000" spc="-10" dirty="0"/>
              <a:t>resources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echniqu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elp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os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source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utomatically,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fte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dirty="0">
                <a:latin typeface="Arial"/>
                <a:cs typeface="Arial"/>
              </a:rPr>
              <a:t>applicatio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mpleted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</a:pPr>
            <a:endParaRPr lang="en-US" sz="1600" dirty="0">
              <a:latin typeface="Arial"/>
              <a:cs typeface="Arial"/>
            </a:endParaRPr>
          </a:p>
          <a:p>
            <a:pPr marL="355600" marR="510540" indent="-343535">
              <a:lnSpc>
                <a:spcPct val="100000"/>
              </a:lnSpc>
              <a:buChar char="•"/>
              <a:tabLst>
                <a:tab pos="355600" algn="l"/>
                <a:tab pos="7240270" algn="l"/>
              </a:tabLst>
            </a:pPr>
            <a:r>
              <a:rPr lang="en-US" sz="1600" dirty="0">
                <a:latin typeface="Arial"/>
                <a:cs typeface="Arial"/>
              </a:rPr>
              <a:t>Using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ry-with-</a:t>
            </a:r>
            <a:r>
              <a:rPr lang="en-US" sz="1600" dirty="0">
                <a:latin typeface="Arial"/>
                <a:cs typeface="Arial"/>
              </a:rPr>
              <a:t>resource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iminate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ask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ing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finally </a:t>
            </a:r>
            <a:r>
              <a:rPr lang="en-US" sz="1600" spc="-25" dirty="0">
                <a:latin typeface="Arial"/>
                <a:cs typeface="Arial"/>
              </a:rPr>
              <a:t>to </a:t>
            </a:r>
            <a:r>
              <a:rPr lang="en-US" sz="1600" dirty="0">
                <a:latin typeface="Arial"/>
                <a:cs typeface="Arial"/>
              </a:rPr>
              <a:t>clos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sources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355600" algn="l"/>
                <a:tab pos="1948180" algn="l"/>
              </a:tabLst>
            </a:pPr>
            <a:r>
              <a:rPr lang="en-US" sz="1600" b="1" dirty="0">
                <a:latin typeface="Arial"/>
                <a:cs typeface="Arial"/>
              </a:rPr>
              <a:t>Example</a:t>
            </a:r>
            <a:r>
              <a:rPr lang="en-US" sz="1600" b="1" spc="-65" dirty="0">
                <a:latin typeface="Arial"/>
                <a:cs typeface="Arial"/>
              </a:rPr>
              <a:t> </a:t>
            </a:r>
            <a:r>
              <a:rPr lang="en-US" sz="1600" b="1" spc="-25" dirty="0">
                <a:latin typeface="Arial"/>
                <a:cs typeface="Arial"/>
              </a:rPr>
              <a:t>for </a:t>
            </a:r>
            <a:r>
              <a:rPr lang="en-US" sz="1600" b="1" dirty="0">
                <a:latin typeface="Arial"/>
                <a:cs typeface="Arial"/>
              </a:rPr>
              <a:t>a</a:t>
            </a:r>
            <a:r>
              <a:rPr lang="en-US" sz="1600" b="1" spc="-1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resource:</a:t>
            </a:r>
            <a:r>
              <a:rPr lang="en-US" sz="1600" b="1" spc="-1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14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ile</a:t>
            </a:r>
            <a:r>
              <a:rPr lang="en-US" sz="1600" spc="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nectio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canner object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marR="356235" indent="-343535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  <a:tab pos="5728335" algn="l"/>
              </a:tabLst>
            </a:pPr>
            <a:r>
              <a:rPr lang="en-US" sz="1600" dirty="0">
                <a:latin typeface="Arial"/>
                <a:cs typeface="Arial"/>
              </a:rPr>
              <a:t>Any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b="1" i="1" dirty="0" err="1">
                <a:latin typeface="Arial"/>
                <a:cs typeface="Arial"/>
              </a:rPr>
              <a:t>java.lang.AutoCloseable</a:t>
            </a:r>
            <a:r>
              <a:rPr lang="en-US" sz="1600" b="1" i="1" spc="-55" dirty="0">
                <a:latin typeface="Arial"/>
                <a:cs typeface="Arial"/>
              </a:rPr>
              <a:t> </a:t>
            </a:r>
            <a:r>
              <a:rPr lang="en-US" sz="1600" b="1" spc="-25" dirty="0">
                <a:latin typeface="Arial"/>
                <a:cs typeface="Arial"/>
              </a:rPr>
              <a:t>or </a:t>
            </a:r>
            <a:r>
              <a:rPr lang="en-US" sz="1600" b="1" i="1" dirty="0" err="1">
                <a:latin typeface="Arial"/>
                <a:cs typeface="Arial"/>
              </a:rPr>
              <a:t>java.io.Closeable</a:t>
            </a:r>
            <a:r>
              <a:rPr lang="en-US" sz="1600" b="1" i="1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sidere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source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0" dirty="0">
                <a:latin typeface="Arial"/>
                <a:cs typeface="Arial"/>
              </a:rPr>
              <a:t> used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ry-with-</a:t>
            </a:r>
            <a:r>
              <a:rPr lang="en-US" sz="1600" dirty="0">
                <a:latin typeface="Arial"/>
                <a:cs typeface="Arial"/>
              </a:rPr>
              <a:t>resource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nstruct.</a:t>
            </a:r>
            <a:endParaRPr lang="en-US" sz="1600" dirty="0">
              <a:latin typeface="Arial"/>
              <a:cs typeface="Arial"/>
            </a:endParaRPr>
          </a:p>
          <a:p>
            <a:pPr marL="355600" marR="7493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113731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Try</a:t>
            </a:r>
            <a:r>
              <a:rPr lang="en-US" sz="2000" spc="-100" dirty="0"/>
              <a:t> </a:t>
            </a:r>
            <a:r>
              <a:rPr lang="en-US" sz="2000" dirty="0"/>
              <a:t>with</a:t>
            </a:r>
            <a:r>
              <a:rPr lang="en-US" sz="2000" spc="-110" dirty="0"/>
              <a:t> </a:t>
            </a:r>
            <a:r>
              <a:rPr lang="en-US" sz="2000" spc="-10" dirty="0"/>
              <a:t>resources :</a:t>
            </a: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BE56EF50-2DC2-E1D0-67F9-447FDE730839}"/>
              </a:ext>
            </a:extLst>
          </p:cNvPr>
          <p:cNvGrpSpPr/>
          <p:nvPr/>
        </p:nvGrpSpPr>
        <p:grpSpPr>
          <a:xfrm>
            <a:off x="676655" y="1895855"/>
            <a:ext cx="7124700" cy="3523615"/>
            <a:chOff x="676655" y="1895855"/>
            <a:chExt cx="7124700" cy="352361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AD7A6A2E-AE1B-ED18-88A3-75DE09E8F9A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5799" y="1904999"/>
              <a:ext cx="7106411" cy="35052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5BDA3DC1-DAE3-3630-A3D9-F545E847C311}"/>
                </a:ext>
              </a:extLst>
            </p:cNvPr>
            <p:cNvSpPr/>
            <p:nvPr/>
          </p:nvSpPr>
          <p:spPr>
            <a:xfrm>
              <a:off x="681227" y="1900427"/>
              <a:ext cx="7115809" cy="3514725"/>
            </a:xfrm>
            <a:custGeom>
              <a:avLst/>
              <a:gdLst/>
              <a:ahLst/>
              <a:cxnLst/>
              <a:rect l="l" t="t" r="r" b="b"/>
              <a:pathLst>
                <a:path w="7115809" h="3514725">
                  <a:moveTo>
                    <a:pt x="0" y="3514344"/>
                  </a:moveTo>
                  <a:lnTo>
                    <a:pt x="7115556" y="3514344"/>
                  </a:lnTo>
                  <a:lnTo>
                    <a:pt x="7115556" y="0"/>
                  </a:lnTo>
                  <a:lnTo>
                    <a:pt x="0" y="0"/>
                  </a:lnTo>
                  <a:lnTo>
                    <a:pt x="0" y="35143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7846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30" dirty="0"/>
              <a:t> </a:t>
            </a:r>
            <a:r>
              <a:rPr lang="en-US" sz="2000" dirty="0"/>
              <a:t>for</a:t>
            </a:r>
            <a:r>
              <a:rPr lang="en-US" sz="2000" spc="-15" dirty="0"/>
              <a:t> </a:t>
            </a:r>
            <a:r>
              <a:rPr lang="en-US" sz="2000" dirty="0"/>
              <a:t>try</a:t>
            </a:r>
            <a:r>
              <a:rPr lang="en-US" sz="2000" spc="-15" dirty="0"/>
              <a:t> </a:t>
            </a:r>
            <a:r>
              <a:rPr lang="en-US" sz="2000" dirty="0"/>
              <a:t>with</a:t>
            </a:r>
            <a:r>
              <a:rPr lang="en-US" sz="2000" spc="-15" dirty="0"/>
              <a:t> </a:t>
            </a:r>
            <a:r>
              <a:rPr lang="en-US" sz="2000" spc="-10" dirty="0"/>
              <a:t>resources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4965" indent="-342265">
              <a:lnSpc>
                <a:spcPct val="100000"/>
              </a:lnSpc>
              <a:spcBef>
                <a:spcPts val="100"/>
              </a:spcBef>
              <a:buChar char="•"/>
              <a:tabLst>
                <a:tab pos="354965" algn="l"/>
              </a:tabLst>
            </a:pPr>
            <a:r>
              <a:rPr lang="en-US" sz="1600" dirty="0" err="1">
                <a:latin typeface="Arial"/>
                <a:cs typeface="Arial"/>
              </a:rPr>
              <a:t>MyResourc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ch</a:t>
            </a:r>
            <a:r>
              <a:rPr lang="en-US" sz="1600" spc="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mplements</a:t>
            </a:r>
            <a:r>
              <a:rPr lang="en-US" sz="1600" spc="-100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AutoCloseable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verrides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spcBef>
                <a:spcPts val="5"/>
              </a:spcBef>
            </a:pPr>
            <a:r>
              <a:rPr lang="en-US" sz="1600" i="1" dirty="0">
                <a:latin typeface="Arial"/>
                <a:cs typeface="Arial"/>
              </a:rPr>
              <a:t>close()</a:t>
            </a:r>
            <a:r>
              <a:rPr lang="en-US" sz="1600" i="1" spc="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method.</a:t>
            </a:r>
            <a:endParaRPr lang="en-US" sz="1600" dirty="0">
              <a:latin typeface="Arial"/>
              <a:cs typeface="Arial"/>
            </a:endParaRPr>
          </a:p>
          <a:p>
            <a:pPr marL="419100" indent="-406400">
              <a:lnSpc>
                <a:spcPct val="100000"/>
              </a:lnSpc>
              <a:spcBef>
                <a:spcPts val="430"/>
              </a:spcBef>
              <a:buFont typeface="Arial"/>
              <a:buChar char="•"/>
              <a:tabLst>
                <a:tab pos="419100" algn="l"/>
              </a:tabLst>
            </a:pPr>
            <a:r>
              <a:rPr lang="en-US" sz="1600" i="1" dirty="0" err="1">
                <a:latin typeface="Arial"/>
                <a:cs typeface="Arial"/>
              </a:rPr>
              <a:t>myMethod</a:t>
            </a:r>
            <a:r>
              <a:rPr lang="en-US" sz="1600" i="1" dirty="0">
                <a:latin typeface="Arial"/>
                <a:cs typeface="Arial"/>
              </a:rPr>
              <a:t>()</a:t>
            </a:r>
            <a:r>
              <a:rPr lang="en-US" sz="1600" i="1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MyResource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</a:t>
            </a:r>
          </a:p>
          <a:p>
            <a:pPr marL="12700">
              <a:lnSpc>
                <a:spcPct val="100000"/>
              </a:lnSpc>
              <a:spcBef>
                <a:spcPts val="430"/>
              </a:spcBef>
              <a:buNone/>
              <a:tabLst>
                <a:tab pos="4191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4">
            <a:extLst>
              <a:ext uri="{FF2B5EF4-FFF2-40B4-BE49-F238E27FC236}">
                <a16:creationId xmlns:a16="http://schemas.microsoft.com/office/drawing/2014/main" id="{8B904E6C-4AE9-EC3F-7080-FAF2C9EBA51C}"/>
              </a:ext>
            </a:extLst>
          </p:cNvPr>
          <p:cNvGrpSpPr/>
          <p:nvPr/>
        </p:nvGrpSpPr>
        <p:grpSpPr>
          <a:xfrm>
            <a:off x="1436598" y="2525593"/>
            <a:ext cx="4476115" cy="3258820"/>
            <a:chOff x="905255" y="2810255"/>
            <a:chExt cx="4476115" cy="3258820"/>
          </a:xfrm>
        </p:grpSpPr>
        <p:pic>
          <p:nvPicPr>
            <p:cNvPr id="4" name="object 5">
              <a:extLst>
                <a:ext uri="{FF2B5EF4-FFF2-40B4-BE49-F238E27FC236}">
                  <a16:creationId xmlns:a16="http://schemas.microsoft.com/office/drawing/2014/main" id="{FFE462DA-20F6-0761-3E80-F19E9B3FE6B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14399" y="2819399"/>
              <a:ext cx="4457700" cy="3240024"/>
            </a:xfrm>
            <a:prstGeom prst="rect">
              <a:avLst/>
            </a:prstGeom>
          </p:spPr>
        </p:pic>
        <p:sp>
          <p:nvSpPr>
            <p:cNvPr id="5" name="object 6">
              <a:extLst>
                <a:ext uri="{FF2B5EF4-FFF2-40B4-BE49-F238E27FC236}">
                  <a16:creationId xmlns:a16="http://schemas.microsoft.com/office/drawing/2014/main" id="{434C8AC6-2DD2-EAF3-88A8-A6DF3CD54689}"/>
                </a:ext>
              </a:extLst>
            </p:cNvPr>
            <p:cNvSpPr/>
            <p:nvPr/>
          </p:nvSpPr>
          <p:spPr>
            <a:xfrm>
              <a:off x="909827" y="2814827"/>
              <a:ext cx="4467225" cy="3249295"/>
            </a:xfrm>
            <a:custGeom>
              <a:avLst/>
              <a:gdLst/>
              <a:ahLst/>
              <a:cxnLst/>
              <a:rect l="l" t="t" r="r" b="b"/>
              <a:pathLst>
                <a:path w="4467225" h="3249295">
                  <a:moveTo>
                    <a:pt x="0" y="3249168"/>
                  </a:moveTo>
                  <a:lnTo>
                    <a:pt x="4466844" y="3249168"/>
                  </a:lnTo>
                  <a:lnTo>
                    <a:pt x="4466844" y="0"/>
                  </a:lnTo>
                  <a:lnTo>
                    <a:pt x="0" y="0"/>
                  </a:lnTo>
                  <a:lnTo>
                    <a:pt x="0" y="324916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1740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7837E1-294C-7C7D-3743-81DB1E9BA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CE4DB92-37D5-B4DE-80A0-F4569C7F81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E4DB92-37D5-B4DE-80A0-F4569C7F8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AC4BBCD-1B1E-E5C3-F192-89310FD5FE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2ACD7AE-1C0E-8289-36DD-EEDCDC8C9BF1}"/>
              </a:ext>
            </a:extLst>
          </p:cNvPr>
          <p:cNvSpPr txBox="1"/>
          <p:nvPr/>
        </p:nvSpPr>
        <p:spPr>
          <a:xfrm>
            <a:off x="381000" y="1944844"/>
            <a:ext cx="576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400" spc="-10" dirty="0">
                <a:latin typeface="Arial"/>
                <a:cs typeface="Arial"/>
              </a:rPr>
              <a:t>		</a:t>
            </a:r>
            <a:r>
              <a:rPr lang="en-US" sz="2400" b="1" spc="-10" dirty="0" err="1">
                <a:latin typeface="Arial"/>
                <a:cs typeface="Arial"/>
              </a:rPr>
              <a:t>java.lang</a:t>
            </a:r>
            <a:endParaRPr lang="en-US" sz="2400" b="1" dirty="0">
              <a:latin typeface="Arial"/>
              <a:cs typeface="Arial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3C5F50D-8D79-FE09-BEF4-DF085783E168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49C7335-7428-DC43-B5E3-C6A46993E1D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CC061CC-9852-6B1F-013A-9FFB3F7245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5A97567-CA62-ECB7-308C-4BE7EEF1E1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20C61D-CF08-2204-3955-850D6E66CD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4972EE0-3CE8-634D-01B0-64B2FB4E78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11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410A8E-B536-A73B-4CAF-4D4207A57C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D79EB8B-3647-E1DC-54A9-E09A705EA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79EB8B-3647-E1DC-54A9-E09A705EA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70635C2-6B3D-EC04-DFD3-2EBB3609B0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B68FE3B-0A04-1590-D2BE-309A199BE34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7D2BEA4-B1FA-EF43-F139-F21139129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D4658CF-4D81-8E49-B31C-F883B47685E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F4B1974-3FE6-0D57-723E-E74DC1615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3240D04-9EF3-D15D-4955-0C09DB7432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B2AA213-AF25-6067-7279-5018297CC5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CCF521A-197F-DE7C-0D7E-E958563E1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Contents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8F7C1E-1684-FFD2-D02E-2A1FA867BA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77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Objec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Wrapper</a:t>
            </a:r>
            <a:r>
              <a:rPr lang="en-US" sz="1600" spc="-1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Conversion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String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0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StringBuffer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tring</a:t>
            </a:r>
            <a:r>
              <a:rPr lang="en-US" sz="1600" spc="-9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Builder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939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6588D-3817-FDE2-6348-118F8722C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D74F589-D281-4C15-7105-9D6797D00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74F589-D281-4C15-7105-9D6797D00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51B6FC0-8AA8-F285-ADFD-F868E19E5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F0CC6F8-F8D6-BCB1-8EE7-337D2E23DD0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44757F6-E08E-ECE0-A0CF-5A3D54D7D0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83BF190-F5DC-9EC4-1CC1-80DEDD30FC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E41ACEB4-BE9F-D217-3EE2-9840982A23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A5F8EAC-5677-9D94-E2F8-A1B740F8E3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43F39C1-AAAF-A94D-F8BA-BA95133297B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99B25F4-DD95-B197-23A3-3A656894A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 dirty="0"/>
              <a:t>Few</a:t>
            </a:r>
            <a:r>
              <a:rPr lang="en-US" sz="3200" spc="-15" dirty="0"/>
              <a:t> </a:t>
            </a:r>
            <a:r>
              <a:rPr lang="en-US" sz="3200" dirty="0"/>
              <a:t>classes</a:t>
            </a:r>
            <a:r>
              <a:rPr lang="en-US" sz="3200" spc="-30" dirty="0"/>
              <a:t> </a:t>
            </a:r>
            <a:r>
              <a:rPr lang="en-US" sz="3200" dirty="0"/>
              <a:t>in</a:t>
            </a:r>
            <a:r>
              <a:rPr lang="en-US" sz="3200" spc="-15" dirty="0"/>
              <a:t> </a:t>
            </a:r>
            <a:r>
              <a:rPr lang="en-US" sz="3200" dirty="0"/>
              <a:t>Lang</a:t>
            </a:r>
            <a:r>
              <a:rPr lang="en-US" sz="3200" spc="-25" dirty="0"/>
              <a:t> </a:t>
            </a:r>
            <a:r>
              <a:rPr lang="en-US" sz="3200" spc="-10" dirty="0"/>
              <a:t>Package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4AC124-0301-4B21-9DC6-B6C5C30A19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Objec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spc="-20" dirty="0">
                <a:latin typeface="Arial"/>
                <a:cs typeface="Arial"/>
              </a:rPr>
              <a:t>Math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String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StringBuffer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StringBuilder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Throwabl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Exception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Thread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</a:t>
            </a:r>
            <a:r>
              <a:rPr lang="en-US" sz="1600" spc="-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rapper</a:t>
            </a:r>
            <a:r>
              <a:rPr lang="en-US" sz="1600" spc="-9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es(</a:t>
            </a:r>
            <a:r>
              <a:rPr lang="en-US" sz="1600" spc="-10" dirty="0" err="1">
                <a:latin typeface="Arial"/>
                <a:cs typeface="Arial"/>
              </a:rPr>
              <a:t>eg.Integer,Float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Runtime</a:t>
            </a:r>
          </a:p>
          <a:p>
            <a:pPr marL="355600" indent="-342900">
              <a:lnSpc>
                <a:spcPct val="100000"/>
              </a:lnSpc>
              <a:spcBef>
                <a:spcPts val="77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Runnabl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Comparabl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67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Cloneabl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068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C25BA-4047-F5A2-699F-BFC88CF4BD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CB3D8CA-3309-7598-60DE-C42A3C189F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B3D8CA-3309-7598-60DE-C42A3C189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C1C4D095-2CAD-889F-334A-243C350F66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0135795-3FC6-891A-CFF9-DAA105959BBA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CE53DF6-4DBD-6E3D-C71D-C39FB11D27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A988059-2680-A536-EF11-43FA043498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019813F-2450-0F4C-3539-BA17854A1B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7AE3382-00D1-912A-A037-1FDBFF83A1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CC923B0-F0A4-0585-6301-708B251943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D3F116A5-DE42-A941-824D-970A0E303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3E5DE-16C4-849C-AA98-5E5810028F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457200"/>
            <a:ext cx="7834313" cy="55702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interface Fly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void fly();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class Man implements Fly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public void fly()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 err="1"/>
              <a:t>System.out.println</a:t>
            </a:r>
            <a:r>
              <a:rPr lang="en-US" sz="2000" dirty="0"/>
              <a:t>(“in planes”);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>
                <a:cs typeface="Arial"/>
              </a:rPr>
              <a:t>}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class Plane implements Fly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public void fly()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{ </a:t>
            </a:r>
            <a:r>
              <a:rPr lang="en-US" sz="2000" dirty="0" err="1"/>
              <a:t>System.out.println</a:t>
            </a:r>
            <a:r>
              <a:rPr lang="en-US" sz="2000" dirty="0"/>
              <a:t> (“using engines”);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} }</a:t>
            </a:r>
            <a:endParaRPr lang="en-US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465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C8E936-92CF-21AF-DE6B-4FE4B27F9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34A0856-FDDA-D510-83B6-47165443B4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4A0856-FDDA-D510-83B6-47165443B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51F9FF64-72A3-6B92-2FA6-FF1AFC1284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DBA14EE-07B3-7E12-1C7C-28F510D6E2CB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0F67C87-656A-9853-30B6-28836EAF5D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BB4608F-5A16-4311-8D07-1543E0FC29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14F06A8-0413-2A6B-9B73-6E79E702C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53FDF7A-8239-1E88-B15C-A4463E03C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8692076-14D5-4922-0B94-7345662219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AF2DF0B-18F3-5263-3F34-5E50D68FE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 spc="-10" dirty="0"/>
              <a:t>Object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CAEE33A-B674-3409-3880-F3D3EFEE2A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2400" dirty="0">
                <a:latin typeface="Arial"/>
                <a:cs typeface="Arial"/>
              </a:rPr>
              <a:t>Is</a:t>
            </a:r>
            <a:r>
              <a:rPr lang="en-US" sz="2400" spc="-5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he</a:t>
            </a:r>
            <a:r>
              <a:rPr lang="en-US" sz="2400" spc="-3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op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level</a:t>
            </a:r>
            <a:r>
              <a:rPr lang="en-US" sz="2400" spc="-20" dirty="0">
                <a:latin typeface="Arial"/>
                <a:cs typeface="Arial"/>
              </a:rPr>
              <a:t> </a:t>
            </a:r>
            <a:r>
              <a:rPr lang="en-US" sz="2400" spc="-10" dirty="0">
                <a:latin typeface="Arial"/>
                <a:cs typeface="Arial"/>
              </a:rPr>
              <a:t>class.</a:t>
            </a: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2400" dirty="0">
                <a:latin typeface="Arial"/>
                <a:cs typeface="Arial"/>
              </a:rPr>
              <a:t>All</a:t>
            </a:r>
            <a:r>
              <a:rPr lang="en-US" sz="2400" spc="-6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he</a:t>
            </a:r>
            <a:r>
              <a:rPr lang="en-US" sz="2400" spc="-7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classes</a:t>
            </a:r>
            <a:r>
              <a:rPr lang="en-US" sz="2400" spc="-6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extend</a:t>
            </a:r>
            <a:r>
              <a:rPr lang="en-US" sz="2400" spc="-55" dirty="0">
                <a:latin typeface="Arial"/>
                <a:cs typeface="Arial"/>
              </a:rPr>
              <a:t> </a:t>
            </a:r>
            <a:r>
              <a:rPr lang="en-US" sz="2400" spc="-10" dirty="0">
                <a:latin typeface="Arial"/>
                <a:cs typeface="Arial"/>
              </a:rPr>
              <a:t>this.</a:t>
            </a: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2400" dirty="0">
                <a:latin typeface="Arial"/>
                <a:cs typeface="Arial"/>
              </a:rPr>
              <a:t>Has</a:t>
            </a:r>
            <a:r>
              <a:rPr lang="en-US" sz="2400" spc="-4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few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spc="-10" dirty="0">
                <a:latin typeface="Arial"/>
                <a:cs typeface="Arial"/>
              </a:rPr>
              <a:t>methods</a:t>
            </a:r>
            <a:endParaRPr lang="en-US" sz="24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4"/>
              </a:spcBef>
              <a:buChar char="–"/>
              <a:tabLst>
                <a:tab pos="756285" algn="l"/>
              </a:tabLst>
            </a:pPr>
            <a:r>
              <a:rPr lang="en-US" sz="2000" dirty="0" err="1">
                <a:latin typeface="Arial"/>
                <a:cs typeface="Arial"/>
              </a:rPr>
              <a:t>hashcode</a:t>
            </a:r>
            <a:r>
              <a:rPr lang="en-US" sz="2000" dirty="0">
                <a:latin typeface="Arial"/>
                <a:cs typeface="Arial"/>
              </a:rPr>
              <a:t>()</a:t>
            </a:r>
            <a:r>
              <a:rPr lang="en-US" sz="2000" spc="-6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and</a:t>
            </a:r>
            <a:r>
              <a:rPr lang="en-US" sz="2000" spc="-2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equals()</a:t>
            </a:r>
            <a:r>
              <a:rPr lang="en-US" sz="2000" spc="-50" dirty="0">
                <a:latin typeface="Arial"/>
                <a:cs typeface="Arial"/>
              </a:rPr>
              <a:t> </a:t>
            </a:r>
            <a:r>
              <a:rPr lang="en-US" sz="2000" dirty="0">
                <a:latin typeface="Wingdings"/>
                <a:cs typeface="Wingdings"/>
              </a:rPr>
              <a:t></a:t>
            </a:r>
            <a:r>
              <a:rPr lang="en-US" sz="2000" spc="30" dirty="0">
                <a:latin typeface="Times New Roman"/>
                <a:cs typeface="Times New Roman"/>
              </a:rPr>
              <a:t> </a:t>
            </a:r>
            <a:r>
              <a:rPr lang="en-US" sz="2000" dirty="0">
                <a:latin typeface="Arial"/>
                <a:cs typeface="Arial"/>
              </a:rPr>
              <a:t>in</a:t>
            </a:r>
            <a:r>
              <a:rPr lang="en-US" sz="2000" spc="-2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util</a:t>
            </a:r>
            <a:r>
              <a:rPr lang="en-US" sz="2000" spc="-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for</a:t>
            </a:r>
            <a:r>
              <a:rPr lang="en-US" sz="2000" spc="-45" dirty="0">
                <a:latin typeface="Arial"/>
                <a:cs typeface="Arial"/>
              </a:rPr>
              <a:t> </a:t>
            </a:r>
            <a:r>
              <a:rPr lang="en-US" sz="2000" spc="-25" dirty="0">
                <a:latin typeface="Arial"/>
                <a:cs typeface="Arial"/>
              </a:rPr>
              <a:t>Set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4"/>
              </a:spcBef>
              <a:buChar char="–"/>
              <a:tabLst>
                <a:tab pos="756285" algn="l"/>
              </a:tabLst>
            </a:pPr>
            <a:r>
              <a:rPr lang="en-US" sz="2000" spc="-10" dirty="0">
                <a:latin typeface="Arial"/>
                <a:cs typeface="Arial"/>
              </a:rPr>
              <a:t>clone()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2000" dirty="0" err="1">
                <a:latin typeface="Arial"/>
                <a:cs typeface="Arial"/>
              </a:rPr>
              <a:t>getClass</a:t>
            </a:r>
            <a:r>
              <a:rPr lang="en-US" sz="2000" dirty="0">
                <a:latin typeface="Arial"/>
                <a:cs typeface="Arial"/>
              </a:rPr>
              <a:t>()</a:t>
            </a:r>
            <a:r>
              <a:rPr lang="en-US" sz="2000" spc="-50" dirty="0">
                <a:latin typeface="Arial"/>
                <a:cs typeface="Arial"/>
              </a:rPr>
              <a:t> </a:t>
            </a:r>
            <a:r>
              <a:rPr lang="en-US" sz="2000" dirty="0">
                <a:latin typeface="Wingdings"/>
                <a:cs typeface="Wingdings"/>
              </a:rPr>
              <a:t></a:t>
            </a:r>
            <a:r>
              <a:rPr lang="en-US" sz="2000" spc="60" dirty="0">
                <a:latin typeface="Times New Roman"/>
                <a:cs typeface="Times New Roman"/>
              </a:rPr>
              <a:t> </a:t>
            </a:r>
            <a:r>
              <a:rPr lang="en-US" sz="2000" dirty="0">
                <a:latin typeface="Arial"/>
                <a:cs typeface="Arial"/>
              </a:rPr>
              <a:t>with</a:t>
            </a:r>
            <a:r>
              <a:rPr lang="en-US" sz="2000" spc="-15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reflection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2000" dirty="0">
                <a:latin typeface="Arial"/>
                <a:cs typeface="Arial"/>
              </a:rPr>
              <a:t>wait(),notify()</a:t>
            </a:r>
            <a:r>
              <a:rPr lang="en-US" sz="2000" spc="-7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and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spc="-10" dirty="0" err="1">
                <a:latin typeface="Arial"/>
                <a:cs typeface="Arial"/>
              </a:rPr>
              <a:t>notifyAll</a:t>
            </a:r>
            <a:r>
              <a:rPr lang="en-US" sz="2000" spc="-10" dirty="0">
                <a:latin typeface="Arial"/>
                <a:cs typeface="Arial"/>
              </a:rPr>
              <a:t>()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  <a:tab pos="1856739" algn="l"/>
              </a:tabLst>
            </a:pPr>
            <a:r>
              <a:rPr lang="en-US" sz="2000" spc="-10" dirty="0">
                <a:latin typeface="Arial"/>
                <a:cs typeface="Arial"/>
              </a:rPr>
              <a:t>finalize()</a:t>
            </a:r>
            <a:r>
              <a:rPr lang="en-US" sz="2000" dirty="0">
                <a:latin typeface="Arial"/>
                <a:cs typeface="Arial"/>
              </a:rPr>
              <a:t>	</a:t>
            </a:r>
            <a:r>
              <a:rPr lang="en-US" sz="2000" dirty="0">
                <a:latin typeface="Wingdings"/>
                <a:cs typeface="Wingdings"/>
              </a:rPr>
              <a:t></a:t>
            </a:r>
            <a:r>
              <a:rPr lang="en-US" sz="2000" spc="30" dirty="0">
                <a:latin typeface="Times New Roman"/>
                <a:cs typeface="Times New Roman"/>
              </a:rPr>
              <a:t> </a:t>
            </a:r>
            <a:r>
              <a:rPr lang="en-US" sz="2000" dirty="0">
                <a:latin typeface="Arial"/>
                <a:cs typeface="Arial"/>
              </a:rPr>
              <a:t>garbage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collection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Char char="–"/>
              <a:tabLst>
                <a:tab pos="756285" algn="l"/>
              </a:tabLst>
            </a:pPr>
            <a:r>
              <a:rPr lang="en-US" sz="2000" spc="-10" dirty="0" err="1">
                <a:latin typeface="Arial"/>
                <a:cs typeface="Arial"/>
              </a:rPr>
              <a:t>toString</a:t>
            </a:r>
            <a:r>
              <a:rPr lang="en-US" sz="2000" spc="-10" dirty="0">
                <a:latin typeface="Arial"/>
                <a:cs typeface="Arial"/>
              </a:rPr>
              <a:t>()</a:t>
            </a:r>
            <a:endParaRPr lang="en-US" sz="2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810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4607C6-BE10-6606-54E5-4AFCFA10B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9C37FBD-C00A-AB81-EEFF-FE7C4B1BB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C37FBD-C00A-AB81-EEFF-FE7C4B1B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79B7BA1-FD6C-D625-5C5F-E838693847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C27ABB4-3B32-24A0-F857-430F699ABB1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D5077C7-63B2-86B3-62E4-1D7060C25D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BDAD0EF-B1A7-433C-7343-68276BD966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9ED650D-9214-C328-776E-7102199647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625F65F-ED2D-9F1F-E807-691F37AAD3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AB413DE-3859-FBB9-A89D-E6B4105F05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6094EF7-1F55-F134-913F-B2DB0A4D1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Use</a:t>
            </a:r>
            <a:r>
              <a:rPr lang="en-US" sz="2000" spc="-5" dirty="0"/>
              <a:t> </a:t>
            </a:r>
            <a:r>
              <a:rPr lang="en-US" sz="2000" dirty="0"/>
              <a:t>of</a:t>
            </a:r>
            <a:r>
              <a:rPr lang="en-US" sz="2000" spc="-10" dirty="0"/>
              <a:t> </a:t>
            </a:r>
            <a:r>
              <a:rPr lang="en-US" sz="2000" spc="-10" dirty="0" err="1"/>
              <a:t>toString</a:t>
            </a:r>
            <a:r>
              <a:rPr lang="en-US" sz="2000" spc="-10" dirty="0"/>
              <a:t>()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527B4A-4D91-8C0D-57E1-1510D39D8E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While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inting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ll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t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hashcod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lue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Overrid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toString</a:t>
            </a:r>
            <a:r>
              <a:rPr lang="en-US" sz="1600" dirty="0">
                <a:latin typeface="Arial"/>
                <a:cs typeface="Arial"/>
              </a:rPr>
              <a:t>()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pe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utpu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xception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es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2C90AEB1-04CB-A2B3-93A6-94EF99C442CF}"/>
              </a:ext>
            </a:extLst>
          </p:cNvPr>
          <p:cNvGrpSpPr/>
          <p:nvPr/>
        </p:nvGrpSpPr>
        <p:grpSpPr>
          <a:xfrm>
            <a:off x="1207105" y="2400848"/>
            <a:ext cx="4905020" cy="3173742"/>
            <a:chOff x="219456" y="1743455"/>
            <a:chExt cx="6695440" cy="415290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B880FCCE-77C4-2E8E-F346-4170EED120F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8600" y="1752599"/>
              <a:ext cx="6676644" cy="4134612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5746876B-122E-E13F-F550-6789D1695BD4}"/>
                </a:ext>
              </a:extLst>
            </p:cNvPr>
            <p:cNvSpPr/>
            <p:nvPr/>
          </p:nvSpPr>
          <p:spPr>
            <a:xfrm>
              <a:off x="224028" y="1748027"/>
              <a:ext cx="6685915" cy="4144010"/>
            </a:xfrm>
            <a:custGeom>
              <a:avLst/>
              <a:gdLst/>
              <a:ahLst/>
              <a:cxnLst/>
              <a:rect l="l" t="t" r="r" b="b"/>
              <a:pathLst>
                <a:path w="6685915" h="4144010">
                  <a:moveTo>
                    <a:pt x="0" y="4143755"/>
                  </a:moveTo>
                  <a:lnTo>
                    <a:pt x="6685788" y="4143755"/>
                  </a:lnTo>
                  <a:lnTo>
                    <a:pt x="6685788" y="0"/>
                  </a:lnTo>
                  <a:lnTo>
                    <a:pt x="0" y="0"/>
                  </a:lnTo>
                  <a:lnTo>
                    <a:pt x="0" y="414375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9003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182CC-4742-7455-9289-CEAC2B286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FEF1F06-CB04-B55D-6115-B3F824223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F1F06-CB04-B55D-6115-B3F824223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9779D5C-254B-1026-39DB-1E766498F3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6484A02-40B4-92E7-ECA1-9DE71EAC4479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8123367-E8A8-AC0C-ED35-F810350840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560A9C6-3C63-CC76-3B6B-310E53E3CD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7CBB5B4-F448-587F-C822-A053446BD1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84B4CD2-A89E-EE1B-3E4E-09DEB52577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1BA22FB-D10C-9B97-3739-608E82521D3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9377BB4-4C9A-04FA-2FC5-ECC858E08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>
                <a:latin typeface="Carlito"/>
                <a:cs typeface="Carlito"/>
              </a:rPr>
              <a:t>Cloning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FCD52A2-A994-EBE9-02AB-CFFE724C7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Is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creating</a:t>
            </a:r>
            <a:r>
              <a:rPr lang="en-US" sz="2000" spc="-4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a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copy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f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the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riginal</a:t>
            </a:r>
            <a:r>
              <a:rPr lang="en-US" sz="2000" spc="-15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object.</a:t>
            </a:r>
            <a:endParaRPr lang="en-US" sz="20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Is</a:t>
            </a:r>
            <a:r>
              <a:rPr lang="en-US" sz="2000" spc="-2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field</a:t>
            </a:r>
            <a:r>
              <a:rPr lang="en-US" sz="2000" spc="-2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by</a:t>
            </a:r>
            <a:r>
              <a:rPr lang="en-US" sz="2000" spc="-2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field</a:t>
            </a:r>
            <a:r>
              <a:rPr lang="en-US" sz="2000" spc="-20" dirty="0">
                <a:latin typeface="Arial"/>
                <a:cs typeface="Arial"/>
              </a:rPr>
              <a:t> copy</a:t>
            </a:r>
            <a:endParaRPr lang="en-US" sz="20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Cloned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bject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has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separate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memory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address</a:t>
            </a:r>
            <a:endParaRPr lang="en-US" sz="20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Types</a:t>
            </a:r>
            <a:r>
              <a:rPr lang="en-US" sz="2000" spc="-5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f</a:t>
            </a:r>
            <a:r>
              <a:rPr lang="en-US" sz="2000" spc="-5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cloning</a:t>
            </a:r>
            <a:r>
              <a:rPr lang="en-US" sz="2000" spc="-5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supported</a:t>
            </a:r>
            <a:r>
              <a:rPr lang="en-US" sz="2000" spc="-8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by</a:t>
            </a:r>
            <a:r>
              <a:rPr lang="en-US" sz="2000" spc="-45" dirty="0">
                <a:latin typeface="Arial"/>
                <a:cs typeface="Arial"/>
              </a:rPr>
              <a:t> </a:t>
            </a:r>
            <a:r>
              <a:rPr lang="en-US" sz="2000" spc="-20" dirty="0">
                <a:latin typeface="Arial"/>
                <a:cs typeface="Arial"/>
              </a:rPr>
              <a:t>Java</a:t>
            </a:r>
            <a:endParaRPr lang="en-US" sz="20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37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800" b="1" dirty="0">
                <a:latin typeface="Carlito"/>
                <a:cs typeface="Carlito"/>
              </a:rPr>
              <a:t>Shallow</a:t>
            </a:r>
            <a:r>
              <a:rPr lang="en-US" sz="1800" b="1" spc="-25" dirty="0">
                <a:latin typeface="Carlito"/>
                <a:cs typeface="Carlito"/>
              </a:rPr>
              <a:t> </a:t>
            </a:r>
            <a:r>
              <a:rPr lang="en-US" sz="1800" b="1" spc="-10" dirty="0">
                <a:latin typeface="Carlito"/>
                <a:cs typeface="Carlito"/>
              </a:rPr>
              <a:t>Cloning</a:t>
            </a:r>
            <a:endParaRPr lang="en-US" sz="18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800" b="1" dirty="0">
                <a:latin typeface="Carlito"/>
                <a:cs typeface="Carlito"/>
              </a:rPr>
              <a:t>Deep</a:t>
            </a:r>
            <a:r>
              <a:rPr lang="en-US" sz="1800" b="1" spc="-50" dirty="0">
                <a:latin typeface="Carlito"/>
                <a:cs typeface="Carlito"/>
              </a:rPr>
              <a:t> </a:t>
            </a:r>
            <a:r>
              <a:rPr lang="en-US" sz="1800" b="1" spc="-10" dirty="0">
                <a:latin typeface="Carlito"/>
                <a:cs typeface="Carlito"/>
              </a:rPr>
              <a:t>Cloning</a:t>
            </a:r>
            <a:endParaRPr lang="en-US" sz="1800" dirty="0">
              <a:latin typeface="Carlito"/>
              <a:cs typeface="Carlito"/>
            </a:endParaRPr>
          </a:p>
          <a:p>
            <a:pPr lvl="1">
              <a:lnSpc>
                <a:spcPct val="100000"/>
              </a:lnSpc>
              <a:spcBef>
                <a:spcPts val="1895"/>
              </a:spcBef>
              <a:buFont typeface="Arial"/>
              <a:buChar char="–"/>
            </a:pPr>
            <a:endParaRPr lang="en-US" sz="18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</a:pPr>
            <a:r>
              <a:rPr lang="en-US" sz="2400" b="1" dirty="0">
                <a:latin typeface="Arial"/>
                <a:cs typeface="Arial"/>
              </a:rPr>
              <a:t>Steps</a:t>
            </a:r>
            <a:r>
              <a:rPr lang="en-US" sz="2400" b="1" spc="-5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in</a:t>
            </a:r>
            <a:r>
              <a:rPr lang="en-US" sz="2400" b="1" spc="-65" dirty="0">
                <a:latin typeface="Arial"/>
                <a:cs typeface="Arial"/>
              </a:rPr>
              <a:t> </a:t>
            </a:r>
            <a:r>
              <a:rPr lang="en-US" sz="2400" b="1" spc="-10" dirty="0">
                <a:latin typeface="Arial"/>
                <a:cs typeface="Arial"/>
              </a:rPr>
              <a:t>cloning</a:t>
            </a: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Class</a:t>
            </a:r>
            <a:r>
              <a:rPr lang="en-US" sz="2000" spc="-2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must</a:t>
            </a:r>
            <a:r>
              <a:rPr lang="en-US" sz="2000" spc="-4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implement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b="1" spc="-10" dirty="0">
                <a:latin typeface="Arial"/>
                <a:cs typeface="Arial"/>
              </a:rPr>
              <a:t>Cloneable</a:t>
            </a:r>
            <a:endParaRPr lang="en-US" sz="20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Class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must</a:t>
            </a:r>
            <a:r>
              <a:rPr lang="en-US" sz="2000" spc="-5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verride</a:t>
            </a:r>
            <a:r>
              <a:rPr lang="en-US" sz="2000" spc="-40" dirty="0">
                <a:latin typeface="Arial"/>
                <a:cs typeface="Arial"/>
              </a:rPr>
              <a:t> </a:t>
            </a:r>
            <a:r>
              <a:rPr lang="en-US" sz="2000" b="1" dirty="0">
                <a:latin typeface="Arial"/>
                <a:cs typeface="Arial"/>
              </a:rPr>
              <a:t>clone</a:t>
            </a:r>
            <a:r>
              <a:rPr lang="en-US" sz="2000" b="1" spc="-40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method</a:t>
            </a:r>
            <a:endParaRPr lang="en-US" sz="20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000" dirty="0">
                <a:latin typeface="Arial"/>
                <a:cs typeface="Arial"/>
              </a:rPr>
              <a:t>No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constructor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is</a:t>
            </a:r>
            <a:r>
              <a:rPr lang="en-US" sz="2000" spc="-1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called</a:t>
            </a:r>
            <a:r>
              <a:rPr lang="en-US" sz="2000" spc="-2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n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the</a:t>
            </a:r>
            <a:r>
              <a:rPr lang="en-US" sz="2000" spc="-3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bject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being</a:t>
            </a:r>
            <a:r>
              <a:rPr lang="en-US" sz="2000" spc="-30" dirty="0">
                <a:latin typeface="Arial"/>
                <a:cs typeface="Arial"/>
              </a:rPr>
              <a:t> </a:t>
            </a:r>
            <a:r>
              <a:rPr lang="en-US" sz="2000" spc="-10" dirty="0">
                <a:latin typeface="Arial"/>
                <a:cs typeface="Arial"/>
              </a:rPr>
              <a:t>cloned.</a:t>
            </a:r>
            <a:endParaRPr lang="en-US" sz="2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0293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74C32-DCDE-63DB-85BB-9316E2F1B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2E2A15D-8EB2-36F1-D52C-D6656CCCD7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E2A15D-8EB2-36F1-D52C-D6656CCCD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8485B720-3673-E79C-0DD0-A1D7D11760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406559-2FB5-2E60-CF3A-2A9A299AF92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83DB95C-6B5D-C057-AAAA-0C94E26086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5744F17-B996-7F35-B7DA-43885D6113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4A4D15B-0CE4-0A76-8D1D-A603064F63B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4CEABC5-B944-C564-0147-70BE18B26E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1B30BE0-9209-4514-AAA8-51233C7DA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0088DCC-2F1C-33AF-3664-19A65BE13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>
                <a:latin typeface="Carlito"/>
                <a:cs typeface="Carlito"/>
              </a:rPr>
              <a:t>Shallow</a:t>
            </a:r>
            <a:r>
              <a:rPr lang="en-US" sz="2000" spc="-75" dirty="0">
                <a:latin typeface="Carlito"/>
                <a:cs typeface="Carlito"/>
              </a:rPr>
              <a:t> </a:t>
            </a:r>
            <a:r>
              <a:rPr lang="en-US" sz="2000" spc="-10" dirty="0">
                <a:latin typeface="Carlito"/>
                <a:cs typeface="Carlito"/>
              </a:rPr>
              <a:t>Cloning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97F54F-B6CB-27BD-ED32-712E6088EE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2400" b="1" dirty="0">
                <a:latin typeface="Arial"/>
                <a:cs typeface="Arial"/>
              </a:rPr>
              <a:t>default</a:t>
            </a:r>
            <a:r>
              <a:rPr lang="en-US" sz="2400" b="1" spc="-4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implementation</a:t>
            </a:r>
            <a:r>
              <a:rPr lang="en-US" sz="2400" b="1" spc="-5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in</a:t>
            </a:r>
            <a:r>
              <a:rPr lang="en-US" sz="2400" b="1" spc="-50" dirty="0">
                <a:latin typeface="Arial"/>
                <a:cs typeface="Arial"/>
              </a:rPr>
              <a:t> </a:t>
            </a:r>
            <a:r>
              <a:rPr lang="en-US" sz="2400" b="1" spc="-10" dirty="0">
                <a:latin typeface="Arial"/>
                <a:cs typeface="Arial"/>
              </a:rPr>
              <a:t>java</a:t>
            </a:r>
            <a:r>
              <a:rPr lang="en-US" sz="2400" spc="-10" dirty="0">
                <a:latin typeface="Arial"/>
                <a:cs typeface="Arial"/>
              </a:rPr>
              <a:t>.</a:t>
            </a:r>
            <a:endParaRPr lang="en-US" sz="2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70"/>
              </a:spcBef>
              <a:buFont typeface="Arial"/>
              <a:buChar char="•"/>
            </a:pPr>
            <a:endParaRPr lang="en-US" sz="2400" dirty="0">
              <a:latin typeface="Arial"/>
              <a:cs typeface="Arial"/>
            </a:endParaRPr>
          </a:p>
          <a:p>
            <a:pPr marL="355600" marR="3352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2400" dirty="0">
                <a:latin typeface="Arial"/>
                <a:cs typeface="Arial"/>
              </a:rPr>
              <a:t>If</a:t>
            </a:r>
            <a:r>
              <a:rPr lang="en-US" sz="2400" spc="-7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you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are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not</a:t>
            </a:r>
            <a:r>
              <a:rPr lang="en-US" sz="2400" spc="-5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cloning</a:t>
            </a:r>
            <a:r>
              <a:rPr lang="en-US" sz="2400" spc="-2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all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he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object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data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ypes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spc="-20" dirty="0">
                <a:latin typeface="Arial"/>
                <a:cs typeface="Arial"/>
              </a:rPr>
              <a:t>(not </a:t>
            </a:r>
            <a:r>
              <a:rPr lang="en-US" sz="2400" dirty="0">
                <a:latin typeface="Arial"/>
                <a:cs typeface="Arial"/>
              </a:rPr>
              <a:t>primitives),</a:t>
            </a:r>
            <a:r>
              <a:rPr lang="en-US" sz="2400" spc="-4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hen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it</a:t>
            </a:r>
            <a:r>
              <a:rPr lang="en-US" sz="2400" spc="-6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is</a:t>
            </a:r>
            <a:r>
              <a:rPr lang="en-US" sz="2400" spc="-4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a</a:t>
            </a:r>
            <a:r>
              <a:rPr lang="en-US" sz="2400" spc="-5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shallow</a:t>
            </a:r>
            <a:r>
              <a:rPr lang="en-US" sz="2400" spc="-25" dirty="0">
                <a:latin typeface="Arial"/>
                <a:cs typeface="Arial"/>
              </a:rPr>
              <a:t> </a:t>
            </a:r>
            <a:r>
              <a:rPr lang="en-US" sz="2400" spc="-20" dirty="0">
                <a:latin typeface="Arial"/>
                <a:cs typeface="Arial"/>
              </a:rPr>
              <a:t>copy</a:t>
            </a:r>
            <a:endParaRPr lang="en-US" sz="2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355"/>
              </a:spcBef>
              <a:buFont typeface="Arial"/>
              <a:buChar char="•"/>
            </a:pPr>
            <a:endParaRPr lang="en-US" sz="24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2400" dirty="0">
                <a:latin typeface="Arial"/>
                <a:cs typeface="Arial"/>
              </a:rPr>
              <a:t>If</a:t>
            </a:r>
            <a:r>
              <a:rPr lang="en-US" sz="2400" spc="-6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the</a:t>
            </a:r>
            <a:r>
              <a:rPr lang="en-US" sz="2400" spc="-35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class</a:t>
            </a:r>
            <a:r>
              <a:rPr lang="en-US" sz="2400" spc="-40" dirty="0">
                <a:latin typeface="Arial"/>
                <a:cs typeface="Arial"/>
              </a:rPr>
              <a:t> </a:t>
            </a:r>
            <a:r>
              <a:rPr lang="en-US" sz="2400" dirty="0">
                <a:latin typeface="Arial"/>
                <a:cs typeface="Arial"/>
              </a:rPr>
              <a:t>has</a:t>
            </a:r>
            <a:r>
              <a:rPr lang="en-US" sz="2400" spc="-1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only</a:t>
            </a:r>
            <a:r>
              <a:rPr lang="en-US" sz="2400" b="1" spc="-6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primitive</a:t>
            </a:r>
            <a:r>
              <a:rPr lang="en-US" sz="2400" b="1" spc="-60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data</a:t>
            </a:r>
            <a:r>
              <a:rPr lang="en-US" sz="2400" b="1" spc="-45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type</a:t>
            </a:r>
            <a:r>
              <a:rPr lang="en-US" sz="2400" b="1" spc="-15" dirty="0">
                <a:latin typeface="Arial"/>
                <a:cs typeface="Arial"/>
              </a:rPr>
              <a:t> </a:t>
            </a:r>
            <a:r>
              <a:rPr lang="en-US" sz="2400" b="1" spc="-10" dirty="0">
                <a:latin typeface="Arial"/>
                <a:cs typeface="Arial"/>
              </a:rPr>
              <a:t>members</a:t>
            </a:r>
            <a:r>
              <a:rPr lang="en-US" sz="2800" spc="-10" dirty="0">
                <a:latin typeface="Arial"/>
                <a:cs typeface="Arial"/>
              </a:rPr>
              <a:t>,</a:t>
            </a:r>
            <a:endParaRPr lang="en-US" sz="28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3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000" dirty="0">
                <a:latin typeface="Carlito"/>
                <a:cs typeface="Carlito"/>
              </a:rPr>
              <a:t>then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a</a:t>
            </a:r>
            <a:r>
              <a:rPr lang="en-US" sz="2000" spc="-2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completely</a:t>
            </a:r>
            <a:r>
              <a:rPr lang="en-US" sz="2000" spc="-30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new</a:t>
            </a:r>
            <a:r>
              <a:rPr lang="en-US" sz="2000" spc="-2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copy</a:t>
            </a:r>
            <a:r>
              <a:rPr lang="en-US" sz="2000" spc="-5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of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the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object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will</a:t>
            </a:r>
            <a:r>
              <a:rPr lang="en-US" sz="2000" spc="-20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be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spc="-10" dirty="0">
                <a:latin typeface="Carlito"/>
                <a:cs typeface="Carlito"/>
              </a:rPr>
              <a:t>created</a:t>
            </a:r>
            <a:endParaRPr lang="en-US" sz="20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000" dirty="0">
                <a:latin typeface="Carlito"/>
                <a:cs typeface="Carlito"/>
              </a:rPr>
              <a:t>the</a:t>
            </a:r>
            <a:r>
              <a:rPr lang="en-US" sz="2000" spc="-25" dirty="0">
                <a:latin typeface="Carlito"/>
                <a:cs typeface="Carlito"/>
              </a:rPr>
              <a:t> </a:t>
            </a:r>
            <a:r>
              <a:rPr lang="en-US" sz="2000" spc="-20" dirty="0">
                <a:latin typeface="Carlito"/>
                <a:cs typeface="Carlito"/>
              </a:rPr>
              <a:t>reference</a:t>
            </a:r>
            <a:r>
              <a:rPr lang="en-US" sz="2000" spc="-3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to</a:t>
            </a:r>
            <a:r>
              <a:rPr lang="en-US" sz="2000" spc="-25" dirty="0">
                <a:latin typeface="Carlito"/>
                <a:cs typeface="Carlito"/>
              </a:rPr>
              <a:t> </a:t>
            </a:r>
            <a:r>
              <a:rPr lang="en-US" sz="2000" dirty="0">
                <a:latin typeface="Carlito"/>
                <a:cs typeface="Carlito"/>
              </a:rPr>
              <a:t>the</a:t>
            </a:r>
            <a:r>
              <a:rPr lang="en-US" sz="2000" spc="-25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new</a:t>
            </a:r>
            <a:r>
              <a:rPr lang="en-US" sz="2000" b="1" spc="-35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object</a:t>
            </a:r>
            <a:r>
              <a:rPr lang="en-US" sz="2000" b="1" spc="-50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copy</a:t>
            </a:r>
            <a:r>
              <a:rPr lang="en-US" sz="2000" b="1" spc="-35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will</a:t>
            </a:r>
            <a:r>
              <a:rPr lang="en-US" sz="2000" b="1" spc="-45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be</a:t>
            </a:r>
            <a:r>
              <a:rPr lang="en-US" sz="2000" b="1" spc="-25" dirty="0">
                <a:latin typeface="Carlito"/>
                <a:cs typeface="Carlito"/>
              </a:rPr>
              <a:t> </a:t>
            </a:r>
            <a:r>
              <a:rPr lang="en-US" sz="2000" b="1" spc="-10" dirty="0">
                <a:latin typeface="Carlito"/>
                <a:cs typeface="Carlito"/>
              </a:rPr>
              <a:t>returned</a:t>
            </a:r>
            <a:r>
              <a:rPr lang="en-US" sz="2000" spc="-10" dirty="0">
                <a:latin typeface="Carlito"/>
                <a:cs typeface="Carlito"/>
              </a:rPr>
              <a:t>.</a:t>
            </a:r>
            <a:endParaRPr lang="en-US" sz="20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367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F3D67-12C6-20B6-548E-850F544722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8C34CA0-4003-2C7F-A1E0-CBF915C963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34CA0-4003-2C7F-A1E0-CBF915C96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2019549-FD02-1294-470E-ACCA152384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9F243E4-C0E2-16B0-3297-E66C49E79BA9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7C9EF28-3CF0-89B2-C71B-EEF30BE7C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DC9B927-3BE4-45D3-CBA4-276EF3A893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53681F3-157A-AC87-3989-09C965B7B0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72CADB1-AE18-CC5A-5FE9-1200EAF283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208C313-27CD-529B-DDB3-DE5D966A3C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285E021-73FC-0304-B004-8DDC3FB2D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Student.java</a:t>
            </a: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F3FF403D-F37A-E669-2378-5DD751DC6916}"/>
              </a:ext>
            </a:extLst>
          </p:cNvPr>
          <p:cNvGrpSpPr/>
          <p:nvPr/>
        </p:nvGrpSpPr>
        <p:grpSpPr>
          <a:xfrm>
            <a:off x="215961" y="1193167"/>
            <a:ext cx="6609715" cy="4514215"/>
            <a:chOff x="676655" y="1514855"/>
            <a:chExt cx="6609715" cy="451421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D591636E-145B-66D9-D587-317225F1BB0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5799" y="1523999"/>
              <a:ext cx="6591300" cy="44958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0C422C45-BA01-0EB8-CEF8-259ECFDA74D4}"/>
                </a:ext>
              </a:extLst>
            </p:cNvPr>
            <p:cNvSpPr/>
            <p:nvPr/>
          </p:nvSpPr>
          <p:spPr>
            <a:xfrm>
              <a:off x="681227" y="1519427"/>
              <a:ext cx="6600825" cy="4505325"/>
            </a:xfrm>
            <a:custGeom>
              <a:avLst/>
              <a:gdLst/>
              <a:ahLst/>
              <a:cxnLst/>
              <a:rect l="l" t="t" r="r" b="b"/>
              <a:pathLst>
                <a:path w="6600825" h="4505325">
                  <a:moveTo>
                    <a:pt x="0" y="4504944"/>
                  </a:moveTo>
                  <a:lnTo>
                    <a:pt x="6600444" y="4504944"/>
                  </a:lnTo>
                  <a:lnTo>
                    <a:pt x="6600444" y="0"/>
                  </a:lnTo>
                  <a:lnTo>
                    <a:pt x="0" y="0"/>
                  </a:lnTo>
                  <a:lnTo>
                    <a:pt x="0" y="45049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093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3B832-A487-3A51-3AE0-6D4CD8ED3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7788DF-0290-C9A8-3FBA-367F1FFF9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7788DF-0290-C9A8-3FBA-367F1FFF9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DF08DA2-528F-079F-0643-05D883447A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02DF729-DC0C-9E0D-5F14-ADC4AA0612E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FA02E29-12EE-753D-CD19-6A6FE4B211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BBDEC6A-C449-D017-E8BD-7EFFE0AD4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2511585E-327D-EB53-CA5C-602035E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6EAC9EA-076F-BD2A-F09C-3BA25D311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E989CF1-1572-67C7-8646-52F4C3A133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A99CEB3-6F5B-6790-7E4F-EE421492E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CloneDemo.java</a:t>
            </a:r>
            <a:endParaRPr lang="en-US" sz="2000" dirty="0"/>
          </a:p>
        </p:txBody>
      </p:sp>
      <p:grpSp>
        <p:nvGrpSpPr>
          <p:cNvPr id="7" name="object 4">
            <a:extLst>
              <a:ext uri="{FF2B5EF4-FFF2-40B4-BE49-F238E27FC236}">
                <a16:creationId xmlns:a16="http://schemas.microsoft.com/office/drawing/2014/main" id="{E9B7E84C-174B-B572-E650-F8C2E4BCB502}"/>
              </a:ext>
            </a:extLst>
          </p:cNvPr>
          <p:cNvGrpSpPr/>
          <p:nvPr/>
        </p:nvGrpSpPr>
        <p:grpSpPr>
          <a:xfrm>
            <a:off x="448055" y="1475232"/>
            <a:ext cx="8582025" cy="4249420"/>
            <a:chOff x="448055" y="1475232"/>
            <a:chExt cx="8582025" cy="4249420"/>
          </a:xfrm>
        </p:grpSpPr>
        <p:pic>
          <p:nvPicPr>
            <p:cNvPr id="8" name="object 5">
              <a:extLst>
                <a:ext uri="{FF2B5EF4-FFF2-40B4-BE49-F238E27FC236}">
                  <a16:creationId xmlns:a16="http://schemas.microsoft.com/office/drawing/2014/main" id="{CC1B5DBC-594C-B92E-F49E-7008D45372A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199" y="1484376"/>
              <a:ext cx="5684520" cy="4230624"/>
            </a:xfrm>
            <a:prstGeom prst="rect">
              <a:avLst/>
            </a:prstGeom>
          </p:spPr>
        </p:pic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FFF49F2A-790C-4478-7B4D-CCC5BF21C6CF}"/>
                </a:ext>
              </a:extLst>
            </p:cNvPr>
            <p:cNvSpPr/>
            <p:nvPr/>
          </p:nvSpPr>
          <p:spPr>
            <a:xfrm>
              <a:off x="452627" y="1479804"/>
              <a:ext cx="5694045" cy="4239895"/>
            </a:xfrm>
            <a:custGeom>
              <a:avLst/>
              <a:gdLst/>
              <a:ahLst/>
              <a:cxnLst/>
              <a:rect l="l" t="t" r="r" b="b"/>
              <a:pathLst>
                <a:path w="5694045" h="4239895">
                  <a:moveTo>
                    <a:pt x="0" y="4239768"/>
                  </a:moveTo>
                  <a:lnTo>
                    <a:pt x="5693664" y="4239768"/>
                  </a:lnTo>
                  <a:lnTo>
                    <a:pt x="5693664" y="0"/>
                  </a:lnTo>
                  <a:lnTo>
                    <a:pt x="0" y="0"/>
                  </a:lnTo>
                  <a:lnTo>
                    <a:pt x="0" y="423976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7">
              <a:extLst>
                <a:ext uri="{FF2B5EF4-FFF2-40B4-BE49-F238E27FC236}">
                  <a16:creationId xmlns:a16="http://schemas.microsoft.com/office/drawing/2014/main" id="{5693D724-AC68-6B12-99D2-1CAAA3AFCDD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334000" y="1946148"/>
              <a:ext cx="3686555" cy="1857756"/>
            </a:xfrm>
            <a:prstGeom prst="rect">
              <a:avLst/>
            </a:prstGeom>
          </p:spPr>
        </p:pic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791821B7-E477-9E60-A9C8-863F768B5A29}"/>
                </a:ext>
              </a:extLst>
            </p:cNvPr>
            <p:cNvSpPr/>
            <p:nvPr/>
          </p:nvSpPr>
          <p:spPr>
            <a:xfrm>
              <a:off x="5329427" y="1941576"/>
              <a:ext cx="3695700" cy="1866900"/>
            </a:xfrm>
            <a:custGeom>
              <a:avLst/>
              <a:gdLst/>
              <a:ahLst/>
              <a:cxnLst/>
              <a:rect l="l" t="t" r="r" b="b"/>
              <a:pathLst>
                <a:path w="3695700" h="1866900">
                  <a:moveTo>
                    <a:pt x="0" y="1866900"/>
                  </a:moveTo>
                  <a:lnTo>
                    <a:pt x="3695700" y="1866900"/>
                  </a:lnTo>
                  <a:lnTo>
                    <a:pt x="3695700" y="0"/>
                  </a:lnTo>
                  <a:lnTo>
                    <a:pt x="0" y="0"/>
                  </a:lnTo>
                  <a:lnTo>
                    <a:pt x="0" y="186690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3">
            <a:extLst>
              <a:ext uri="{FF2B5EF4-FFF2-40B4-BE49-F238E27FC236}">
                <a16:creationId xmlns:a16="http://schemas.microsoft.com/office/drawing/2014/main" id="{17128B9D-B9BE-01E3-BEC1-43828736BCD1}"/>
              </a:ext>
            </a:extLst>
          </p:cNvPr>
          <p:cNvSpPr txBox="1"/>
          <p:nvPr/>
        </p:nvSpPr>
        <p:spPr>
          <a:xfrm>
            <a:off x="7412228" y="1443354"/>
            <a:ext cx="9417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10" dirty="0">
                <a:latin typeface="Arial"/>
                <a:cs typeface="Arial"/>
              </a:rPr>
              <a:t>Output</a:t>
            </a:r>
            <a:endParaRPr sz="2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90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1BE07-E0D0-89D0-29DE-32D13109F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8734EC-1629-1603-89B4-4653074FC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8734EC-1629-1603-89B4-4653074FC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2E0D5B9-D581-735D-D340-DB0DCF0F62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C5EE2D5-8CA1-5DC6-6B8F-48CC2306CC9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29A2240-101D-2B84-F9A6-8F135950A0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1ED9A33D-DAC3-2F83-2E90-835B29E9F7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B2B55F-8FA7-B8B9-2B9D-A9B1E59DB5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333647C-6C27-097F-2D99-9E6B29605E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995CBD6-6E9D-AB6D-A214-E08092B08F1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13F5C64-34E3-260F-690C-02BA9FFA5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 err="1"/>
              <a:t>Hashcode</a:t>
            </a:r>
            <a:r>
              <a:rPr lang="en-US" sz="2000" spc="-35" dirty="0"/>
              <a:t> </a:t>
            </a:r>
            <a:r>
              <a:rPr lang="en-US" sz="2000" dirty="0"/>
              <a:t>and</a:t>
            </a:r>
            <a:r>
              <a:rPr lang="en-US" sz="2000" spc="-15" dirty="0"/>
              <a:t> </a:t>
            </a:r>
            <a:r>
              <a:rPr lang="en-US" sz="2000" spc="-10" dirty="0"/>
              <a:t>equals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EE538C-6694-1E9B-FD38-DF61E13480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39750" indent="-343535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ver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s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equals()</a:t>
            </a:r>
            <a:r>
              <a:rPr lang="en-US" sz="1600" i="1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caus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s </a:t>
            </a:r>
            <a:r>
              <a:rPr lang="en-US" sz="1600" dirty="0">
                <a:latin typeface="Arial"/>
                <a:cs typeface="Arial"/>
              </a:rPr>
              <a:t>inherit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Object</a:t>
            </a:r>
            <a:r>
              <a:rPr lang="en-US" sz="1600" i="1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  <a:tab pos="3093085" algn="l"/>
              </a:tabLst>
            </a:pPr>
            <a:r>
              <a:rPr lang="en-US" sz="1600" dirty="0">
                <a:latin typeface="Arial"/>
                <a:cs typeface="Arial"/>
              </a:rPr>
              <a:t>Defaul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mplementation </a:t>
            </a:r>
            <a:r>
              <a:rPr lang="en-US" sz="1600" dirty="0">
                <a:latin typeface="Arial"/>
                <a:cs typeface="Arial"/>
              </a:rPr>
              <a:t>compare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mory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resse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spc="-10" dirty="0">
                <a:latin typeface="Arial"/>
                <a:cs typeface="Arial"/>
              </a:rPr>
              <a:t>objects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equals()</a:t>
            </a:r>
            <a:r>
              <a:rPr lang="en-US" sz="1600" i="1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Object</a:t>
            </a:r>
            <a:r>
              <a:rPr lang="en-US" sz="1600" i="1" spc="-40" dirty="0">
                <a:latin typeface="Arial"/>
                <a:cs typeface="Arial"/>
              </a:rPr>
              <a:t> </a:t>
            </a:r>
            <a:r>
              <a:rPr lang="en-US" sz="1600" i="1" spc="-10" dirty="0">
                <a:latin typeface="Arial"/>
                <a:cs typeface="Arial"/>
              </a:rPr>
              <a:t>class</a:t>
            </a:r>
            <a:r>
              <a:rPr lang="en-US" sz="1600" spc="-10" dirty="0">
                <a:latin typeface="Arial"/>
                <a:cs typeface="Arial"/>
              </a:rPr>
              <a:t>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se,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houl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so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rid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i="1" spc="-10" dirty="0" err="1">
                <a:latin typeface="Arial"/>
                <a:cs typeface="Arial"/>
              </a:rPr>
              <a:t>hashCode</a:t>
            </a:r>
            <a:r>
              <a:rPr lang="en-US" sz="1600" i="1" spc="-10" dirty="0">
                <a:latin typeface="Arial"/>
                <a:cs typeface="Arial"/>
              </a:rPr>
              <a:t>()</a:t>
            </a:r>
            <a:r>
              <a:rPr lang="en-US" sz="1600" spc="-10" dirty="0">
                <a:latin typeface="Arial"/>
                <a:cs typeface="Arial"/>
              </a:rPr>
              <a:t>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ls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violation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neral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trac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Object.hashCod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will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  <a:spcBef>
                <a:spcPts val="5"/>
              </a:spcBef>
            </a:pPr>
            <a:r>
              <a:rPr lang="en-US" sz="1600" spc="-10" dirty="0">
                <a:latin typeface="Arial"/>
                <a:cs typeface="Arial"/>
              </a:rPr>
              <a:t>occur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188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ED6BDA-9FBF-25D8-81C7-35378DE0EA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D422761-D049-27B7-65BE-E3DB506D5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422761-D049-27B7-65BE-E3DB506D5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CF04907D-CE50-0578-D6DF-D2CA476040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8E9C5BF-750F-AF84-C71F-FECAA79D530F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80D8E4C-F33F-BB21-63A5-6A8877B2BB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FC6CE53-6989-A035-8F68-A0AF4AB4CCC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155F921-4353-35CA-2AE4-34C73968C6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8E7C856-34E0-EE40-2A32-77E31208F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1CF8BBF-CCDA-822C-C7A6-B67D08E1AE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7A8747A-FD59-E914-4914-3EEEC0F34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Contract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8465EB-464E-6F26-0C53-DEAC46314A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298450" indent="-285750">
              <a:spcBef>
                <a:spcPts val="675"/>
              </a:spcBef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b="1" i="1" dirty="0">
                <a:latin typeface="Courier New"/>
                <a:cs typeface="Courier New"/>
              </a:rPr>
              <a:t>If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two</a:t>
            </a:r>
            <a:r>
              <a:rPr lang="en-US" sz="1600" b="1" i="1" spc="-3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objects</a:t>
            </a:r>
            <a:r>
              <a:rPr lang="en-US" sz="1600" b="1" i="1" spc="-4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are</a:t>
            </a:r>
            <a:r>
              <a:rPr lang="en-US" sz="1600" b="1" i="1" spc="-3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equal</a:t>
            </a:r>
            <a:r>
              <a:rPr lang="en-US" sz="1600" b="1" i="1" spc="-4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according</a:t>
            </a:r>
            <a:r>
              <a:rPr lang="en-US" sz="1600" b="1" i="1" spc="-4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to</a:t>
            </a:r>
            <a:r>
              <a:rPr lang="en-US" sz="1600" b="1" i="1" spc="-45" dirty="0">
                <a:latin typeface="Courier New"/>
                <a:cs typeface="Courier New"/>
              </a:rPr>
              <a:t> </a:t>
            </a:r>
            <a:r>
              <a:rPr lang="en-US" sz="1600" b="1" i="1" spc="-25" dirty="0">
                <a:latin typeface="Courier New"/>
                <a:cs typeface="Courier New"/>
              </a:rPr>
              <a:t>the</a:t>
            </a:r>
            <a:r>
              <a:rPr lang="en-US" sz="1600" b="1" i="1" dirty="0">
                <a:latin typeface="Courier New"/>
                <a:cs typeface="Courier New"/>
              </a:rPr>
              <a:t>	</a:t>
            </a:r>
            <a:r>
              <a:rPr lang="en-US" sz="1600" b="1" i="1" spc="-10" dirty="0">
                <a:latin typeface="Courier New"/>
                <a:cs typeface="Courier New"/>
              </a:rPr>
              <a:t>equals(Object) </a:t>
            </a:r>
            <a:r>
              <a:rPr lang="en-US" sz="1600" b="1" i="1" dirty="0">
                <a:latin typeface="Courier New"/>
                <a:cs typeface="Courier New"/>
              </a:rPr>
              <a:t>method,</a:t>
            </a:r>
            <a:r>
              <a:rPr lang="en-US" sz="1600" b="1" i="1" spc="-4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then</a:t>
            </a:r>
            <a:r>
              <a:rPr lang="en-US" sz="1600" b="1" i="1" spc="-4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calling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the</a:t>
            </a:r>
            <a:r>
              <a:rPr lang="en-US" sz="1600" b="1" i="1" spc="-20" dirty="0">
                <a:latin typeface="Courier New"/>
                <a:cs typeface="Courier New"/>
              </a:rPr>
              <a:t> </a:t>
            </a:r>
            <a:r>
              <a:rPr lang="en-US" sz="1600" b="1" i="1" dirty="0" err="1">
                <a:latin typeface="Courier New"/>
                <a:cs typeface="Courier New"/>
              </a:rPr>
              <a:t>hashCode</a:t>
            </a:r>
            <a:r>
              <a:rPr lang="en-US" sz="1600" b="1" i="1" dirty="0">
                <a:latin typeface="Courier New"/>
                <a:cs typeface="Courier New"/>
              </a:rPr>
              <a:t>()</a:t>
            </a:r>
            <a:r>
              <a:rPr lang="en-US" sz="1600" b="1" i="1" spc="-3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method</a:t>
            </a:r>
            <a:r>
              <a:rPr lang="en-US" sz="1600" b="1" i="1" spc="-4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on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each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of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the</a:t>
            </a:r>
            <a:r>
              <a:rPr lang="en-US" sz="1600" b="1" i="1" spc="-50" dirty="0">
                <a:latin typeface="Courier New"/>
                <a:cs typeface="Courier New"/>
              </a:rPr>
              <a:t> </a:t>
            </a:r>
            <a:r>
              <a:rPr lang="en-US" sz="1600" b="1" i="1" spc="-25" dirty="0">
                <a:latin typeface="Courier New"/>
                <a:cs typeface="Courier New"/>
              </a:rPr>
              <a:t>two </a:t>
            </a:r>
            <a:r>
              <a:rPr lang="en-US" sz="1600" b="1" i="1" dirty="0">
                <a:latin typeface="Courier New"/>
                <a:cs typeface="Courier New"/>
              </a:rPr>
              <a:t>objects</a:t>
            </a:r>
            <a:r>
              <a:rPr lang="en-US" sz="1600" b="1" i="1" spc="-6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must</a:t>
            </a:r>
            <a:r>
              <a:rPr lang="en-US" sz="1600" b="1" i="1" spc="-6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produce</a:t>
            </a:r>
            <a:r>
              <a:rPr lang="en-US" sz="1600" b="1" i="1" spc="-80" dirty="0">
                <a:latin typeface="Courier New"/>
                <a:cs typeface="Courier New"/>
              </a:rPr>
              <a:t> </a:t>
            </a:r>
            <a:r>
              <a:rPr lang="en-US" sz="1600" b="1" i="1" spc="-25" dirty="0">
                <a:latin typeface="Courier New"/>
                <a:cs typeface="Courier New"/>
              </a:rPr>
              <a:t>the</a:t>
            </a:r>
            <a:r>
              <a:rPr lang="en-US" sz="1600" b="1" i="1" dirty="0">
                <a:latin typeface="Courier New"/>
                <a:cs typeface="Courier New"/>
              </a:rPr>
              <a:t>	same</a:t>
            </a:r>
            <a:r>
              <a:rPr lang="en-US" sz="1600" b="1" i="1" spc="-55" dirty="0">
                <a:latin typeface="Courier New"/>
                <a:cs typeface="Courier New"/>
              </a:rPr>
              <a:t> </a:t>
            </a:r>
            <a:r>
              <a:rPr lang="en-US" sz="1600" b="1" i="1" dirty="0">
                <a:latin typeface="Courier New"/>
                <a:cs typeface="Courier New"/>
              </a:rPr>
              <a:t>integer</a:t>
            </a:r>
            <a:r>
              <a:rPr lang="en-US" sz="1600" b="1" i="1" spc="-70" dirty="0">
                <a:latin typeface="Courier New"/>
                <a:cs typeface="Courier New"/>
              </a:rPr>
              <a:t> </a:t>
            </a:r>
            <a:r>
              <a:rPr lang="en-US" sz="1600" b="1" i="1" spc="-10" dirty="0">
                <a:latin typeface="Courier New"/>
                <a:cs typeface="Courier New"/>
              </a:rPr>
              <a:t>result.</a:t>
            </a:r>
          </a:p>
          <a:p>
            <a:pPr marL="298450" indent="-285750">
              <a:spcBef>
                <a:spcPts val="675"/>
              </a:spcBef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b="1" i="1" u="none" strike="noStrike" spc="-10" dirty="0">
                <a:solidFill>
                  <a:srgbClr val="000000"/>
                </a:solidFill>
                <a:effectLst/>
                <a:latin typeface="Courier New"/>
                <a:cs typeface="Courier New"/>
              </a:rPr>
              <a:t>I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en-US" sz="1800" b="1" i="1" u="none" strike="noStrike" spc="-2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T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1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quired</a:t>
            </a:r>
            <a:r>
              <a:rPr lang="en-US" sz="1800" spc="-10" dirty="0">
                <a:latin typeface="Arial" panose="020B0604020202020204" pitchFamily="34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at</a:t>
            </a:r>
            <a:r>
              <a:rPr lang="en-US" sz="1800" b="1" i="1" u="none" strike="noStrike" spc="-4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f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wo</a:t>
            </a:r>
            <a:r>
              <a:rPr lang="en-US" sz="1800" b="1" i="1" u="none" strike="noStrike" spc="-5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jects</a:t>
            </a:r>
            <a:r>
              <a:rPr lang="en-US" sz="1800" b="1" i="1" u="none" strike="noStrike" spc="-6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re</a:t>
            </a:r>
            <a:r>
              <a:rPr lang="en-US" sz="1800" b="1" i="1" u="none" strike="noStrike" spc="-5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nequal</a:t>
            </a:r>
            <a:r>
              <a:rPr lang="en-US" sz="1800" b="1" i="1" u="none" strike="noStrike" spc="-6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ccording</a:t>
            </a:r>
            <a:r>
              <a:rPr lang="en-US" sz="1800" b="1" i="1" u="none" strike="noStrike" spc="-5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en-US" sz="1800" spc="-25" dirty="0">
                <a:latin typeface="Arial" panose="020B0604020202020204" pitchFamily="34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en-US" sz="1800" b="1" i="1" u="none" strike="noStrike" spc="-3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1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quals(Object) method,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n</a:t>
            </a:r>
            <a:r>
              <a:rPr lang="en-US" sz="1800" b="1" i="1" u="none" strike="noStrike" spc="-5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alling</a:t>
            </a:r>
            <a:r>
              <a:rPr lang="en-US" sz="1800" b="1" i="1" u="none" strike="noStrike" spc="-5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en-US" sz="1800" b="1" i="1" spc="-25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 err="1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hCode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sz="1800" b="1" i="1" u="none" strike="noStrike" spc="-9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1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thod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</a:t>
            </a:r>
            <a:r>
              <a:rPr lang="en-US" sz="1800" b="1" i="1" u="none" strike="noStrike" spc="-3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ach</a:t>
            </a:r>
            <a:r>
              <a:rPr lang="en-US" sz="1800" b="1" i="1" u="none" strike="noStrike" spc="-2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en-US" sz="1800" b="1" i="1" u="none" strike="noStrike" spc="-3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2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wo </a:t>
            </a:r>
            <a:r>
              <a:rPr lang="en-US" sz="1800" b="1" i="1" u="none" strike="noStrike" spc="-1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bjects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ust</a:t>
            </a:r>
            <a:r>
              <a:rPr lang="en-US" sz="1800" b="1" i="1" u="none" strike="noStrike" spc="-5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duce</a:t>
            </a:r>
            <a:r>
              <a:rPr lang="en-US" sz="1800" b="1" i="1" u="none" strike="noStrike" spc="-6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sz="1800" b="1" i="1" u="none" strike="noStrike" spc="-55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i="1" u="none" strike="noStrike" spc="-10" dirty="0"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teger results.</a:t>
            </a:r>
            <a:endParaRPr lang="en-US" sz="1800" b="0" i="0" u="none" strike="noStrike" dirty="0">
              <a:effectLst/>
              <a:latin typeface="Arial" panose="020B0604020202020204" pitchFamily="34" charset="0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aphicFrame>
        <p:nvGraphicFramePr>
          <p:cNvPr id="3" name="object 5">
            <a:extLst>
              <a:ext uri="{FF2B5EF4-FFF2-40B4-BE49-F238E27FC236}">
                <a16:creationId xmlns:a16="http://schemas.microsoft.com/office/drawing/2014/main" id="{AEC4FFDF-F1AB-1BB4-89FC-4C7232F47F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589116"/>
              </p:ext>
            </p:extLst>
          </p:nvPr>
        </p:nvGraphicFramePr>
        <p:xfrm>
          <a:off x="471487" y="3687141"/>
          <a:ext cx="8229600" cy="18345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67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1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Condition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Required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Not</a:t>
                      </a:r>
                      <a:r>
                        <a:rPr sz="1600" b="1" spc="-7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required</a:t>
                      </a:r>
                      <a:r>
                        <a:rPr sz="1600" b="1" spc="-3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but</a:t>
                      </a:r>
                      <a:r>
                        <a:rPr sz="1600" b="1" spc="-4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allowed)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330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x.equals(y)</a:t>
                      </a:r>
                      <a:r>
                        <a:rPr sz="1600" spc="-4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dirty="0">
                          <a:latin typeface="Carlito"/>
                          <a:cs typeface="Carlito"/>
                        </a:rPr>
                        <a:t>==</a:t>
                      </a:r>
                      <a:r>
                        <a:rPr sz="1600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20" dirty="0">
                          <a:latin typeface="Carlito"/>
                          <a:cs typeface="Carlito"/>
                        </a:rPr>
                        <a:t>true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x.hashCode()</a:t>
                      </a:r>
                      <a:r>
                        <a:rPr sz="1600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10" dirty="0">
                          <a:latin typeface="Carlito"/>
                          <a:cs typeface="Carlito"/>
                        </a:rPr>
                        <a:t>==y.hashCode()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00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x.hashCode()</a:t>
                      </a:r>
                      <a:r>
                        <a:rPr sz="1600" spc="-5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dirty="0">
                          <a:latin typeface="Carlito"/>
                          <a:cs typeface="Carlito"/>
                        </a:rPr>
                        <a:t>==</a:t>
                      </a:r>
                      <a:r>
                        <a:rPr sz="1600" spc="-2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10" dirty="0">
                          <a:latin typeface="Carlito"/>
                          <a:cs typeface="Carlito"/>
                        </a:rPr>
                        <a:t>y.hashCode()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x.equals(y)</a:t>
                      </a:r>
                      <a:r>
                        <a:rPr sz="1600" spc="-5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dirty="0">
                          <a:latin typeface="Carlito"/>
                          <a:cs typeface="Carlito"/>
                        </a:rPr>
                        <a:t>==</a:t>
                      </a:r>
                      <a:r>
                        <a:rPr sz="1600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20" dirty="0">
                          <a:latin typeface="Carlito"/>
                          <a:cs typeface="Carlito"/>
                        </a:rPr>
                        <a:t>true</a:t>
                      </a:r>
                      <a:endParaRPr sz="160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6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x.equals(y)</a:t>
                      </a:r>
                      <a:r>
                        <a:rPr sz="1600" spc="-5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dirty="0">
                          <a:latin typeface="Carlito"/>
                          <a:cs typeface="Carlito"/>
                        </a:rPr>
                        <a:t>==</a:t>
                      </a:r>
                      <a:r>
                        <a:rPr sz="1600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20" dirty="0">
                          <a:latin typeface="Carlito"/>
                          <a:cs typeface="Carlito"/>
                        </a:rPr>
                        <a:t>false</a:t>
                      </a:r>
                      <a:endParaRPr sz="1600" dirty="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dirty="0">
                          <a:latin typeface="Carlito"/>
                          <a:cs typeface="Carlito"/>
                        </a:rPr>
                        <a:t>No</a:t>
                      </a:r>
                      <a:r>
                        <a:rPr sz="1600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dirty="0">
                          <a:latin typeface="Carlito"/>
                          <a:cs typeface="Carlito"/>
                        </a:rPr>
                        <a:t>Hashcode</a:t>
                      </a:r>
                      <a:r>
                        <a:rPr sz="1600" spc="-2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600" spc="-10" dirty="0">
                          <a:latin typeface="Carlito"/>
                          <a:cs typeface="Carlito"/>
                        </a:rPr>
                        <a:t>requirements</a:t>
                      </a:r>
                      <a:endParaRPr sz="1600" dirty="0">
                        <a:latin typeface="Carlito"/>
                        <a:cs typeface="Carlito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ACA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004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F184D2-4729-9FC0-D423-F44DB1AFB8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33ACB7-3A0E-420A-7E8B-D8A65EB54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33ACB7-3A0E-420A-7E8B-D8A65EB54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C2A6E21-1157-0B3F-855D-50311CD1E6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3B57E7A-A176-99D0-509C-A8A43496A20C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1CCEAAD-E7C5-5820-D153-D1C6DA07F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0B3F979-FA6F-1592-9163-8F36859B36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09609BC-A7C1-3AA5-6A72-6CEFF2C51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82CCCB5-D184-BD46-8841-AA56D561A4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0D8A7AC-1EA9-9D92-ACB6-E7095AD2B0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1214AE9-7A6E-08B1-C8A6-2DD9FC4C5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Wrapper</a:t>
            </a:r>
            <a:r>
              <a:rPr lang="en-US" sz="2000" spc="-120" dirty="0"/>
              <a:t> </a:t>
            </a:r>
            <a:r>
              <a:rPr lang="en-US" sz="2000" spc="-10" dirty="0"/>
              <a:t>Classes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A6CA08-49E5-94A1-BAC8-726CDBBB20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ts val="2380"/>
              </a:lnSpc>
              <a:spcBef>
                <a:spcPts val="390"/>
              </a:spcBef>
              <a:buChar char="•"/>
              <a:tabLst>
                <a:tab pos="355600" algn="l"/>
              </a:tabLst>
            </a:pPr>
            <a:r>
              <a:rPr lang="en-US" sz="2200" dirty="0">
                <a:latin typeface="Arial"/>
                <a:cs typeface="Arial"/>
              </a:rPr>
              <a:t>Wrapper</a:t>
            </a:r>
            <a:r>
              <a:rPr lang="en-US" sz="2200" spc="-6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lasses</a:t>
            </a:r>
            <a:r>
              <a:rPr lang="en-US" sz="2200" spc="-9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are</a:t>
            </a:r>
            <a:r>
              <a:rPr lang="en-US" sz="2200" spc="-6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nbuilt</a:t>
            </a:r>
            <a:r>
              <a:rPr lang="en-US" sz="2200" spc="-7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lasses</a:t>
            </a:r>
            <a:r>
              <a:rPr lang="en-US" sz="2200" spc="-8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which</a:t>
            </a:r>
            <a:r>
              <a:rPr lang="en-US" sz="2200" spc="-7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onvert</a:t>
            </a:r>
            <a:r>
              <a:rPr lang="en-US" sz="2200" spc="-55" dirty="0">
                <a:latin typeface="Arial"/>
                <a:cs typeface="Arial"/>
              </a:rPr>
              <a:t> </a:t>
            </a:r>
            <a:r>
              <a:rPr lang="en-US" sz="2200" spc="-25" dirty="0">
                <a:latin typeface="Arial"/>
                <a:cs typeface="Arial"/>
              </a:rPr>
              <a:t>the </a:t>
            </a:r>
            <a:r>
              <a:rPr lang="en-US" sz="2200" dirty="0">
                <a:latin typeface="Arial"/>
                <a:cs typeface="Arial"/>
              </a:rPr>
              <a:t>primitive</a:t>
            </a:r>
            <a:r>
              <a:rPr lang="en-US" sz="2200" spc="-5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data</a:t>
            </a:r>
            <a:r>
              <a:rPr lang="en-US" sz="2200" spc="-5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ypes</a:t>
            </a:r>
            <a:r>
              <a:rPr lang="en-US" sz="2200" spc="-6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nto</a:t>
            </a:r>
            <a:r>
              <a:rPr lang="en-US" sz="2200" spc="-65" dirty="0">
                <a:latin typeface="Arial"/>
                <a:cs typeface="Arial"/>
              </a:rPr>
              <a:t> </a:t>
            </a:r>
            <a:r>
              <a:rPr lang="en-US" sz="2200" spc="-10" dirty="0">
                <a:latin typeface="Arial"/>
                <a:cs typeface="Arial"/>
              </a:rPr>
              <a:t>objects.</a:t>
            </a:r>
            <a:endParaRPr lang="en-US" sz="22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225"/>
              </a:spcBef>
              <a:buChar char="•"/>
              <a:tabLst>
                <a:tab pos="355600" algn="l"/>
              </a:tabLst>
            </a:pPr>
            <a:r>
              <a:rPr lang="en-US" sz="2200" dirty="0">
                <a:latin typeface="Arial"/>
                <a:cs typeface="Arial"/>
              </a:rPr>
              <a:t>All</a:t>
            </a:r>
            <a:r>
              <a:rPr lang="en-US" sz="2200" spc="-6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he</a:t>
            </a:r>
            <a:r>
              <a:rPr lang="en-US" sz="2200" spc="-5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methods</a:t>
            </a:r>
            <a:r>
              <a:rPr lang="en-US" sz="2200" spc="-2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of</a:t>
            </a:r>
            <a:r>
              <a:rPr lang="en-US" sz="2200" spc="-5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he</a:t>
            </a:r>
            <a:r>
              <a:rPr lang="en-US" sz="2200" spc="-5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wrapper</a:t>
            </a:r>
            <a:r>
              <a:rPr lang="en-US" sz="2200" spc="-3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lasses</a:t>
            </a:r>
            <a:r>
              <a:rPr lang="en-US" sz="2200" spc="-7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are</a:t>
            </a:r>
            <a:r>
              <a:rPr lang="en-US" sz="2200" spc="-40" dirty="0">
                <a:latin typeface="Arial"/>
                <a:cs typeface="Arial"/>
              </a:rPr>
              <a:t> </a:t>
            </a:r>
            <a:r>
              <a:rPr lang="en-US" sz="2200" spc="-10" dirty="0">
                <a:latin typeface="Arial"/>
                <a:cs typeface="Arial"/>
              </a:rPr>
              <a:t>static.</a:t>
            </a:r>
            <a:endParaRPr lang="en-US" sz="2200" dirty="0">
              <a:latin typeface="Arial"/>
              <a:cs typeface="Arial"/>
            </a:endParaRPr>
          </a:p>
          <a:p>
            <a:pPr marL="469900" indent="-457834">
              <a:lnSpc>
                <a:spcPct val="100000"/>
              </a:lnSpc>
              <a:spcBef>
                <a:spcPts val="265"/>
              </a:spcBef>
            </a:pPr>
            <a:r>
              <a:rPr lang="en-US" sz="2200" b="1" dirty="0">
                <a:latin typeface="Arial"/>
                <a:cs typeface="Arial"/>
              </a:rPr>
              <a:t>Wrapper</a:t>
            </a:r>
            <a:r>
              <a:rPr lang="en-US" sz="2200" b="1" spc="-140" dirty="0">
                <a:latin typeface="Arial"/>
                <a:cs typeface="Arial"/>
              </a:rPr>
              <a:t> </a:t>
            </a:r>
            <a:r>
              <a:rPr lang="en-US" sz="2200" b="1" spc="-10" dirty="0">
                <a:latin typeface="Arial"/>
                <a:cs typeface="Arial"/>
              </a:rPr>
              <a:t>classes</a:t>
            </a:r>
            <a:endParaRPr lang="en-US" sz="22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19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10" dirty="0">
                <a:latin typeface="Carlito"/>
                <a:cs typeface="Carlito"/>
              </a:rPr>
              <a:t>Boolean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20" dirty="0">
                <a:latin typeface="Carlito"/>
                <a:cs typeface="Carlito"/>
              </a:rPr>
              <a:t>Byte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10" dirty="0">
                <a:latin typeface="Carlito"/>
                <a:cs typeface="Carlito"/>
              </a:rPr>
              <a:t>Short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10" dirty="0">
                <a:latin typeface="Carlito"/>
                <a:cs typeface="Carlito"/>
              </a:rPr>
              <a:t>Integer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20" dirty="0">
                <a:latin typeface="Carlito"/>
                <a:cs typeface="Carlito"/>
              </a:rPr>
              <a:t>Long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10" dirty="0">
                <a:latin typeface="Carlito"/>
                <a:cs typeface="Carlito"/>
              </a:rPr>
              <a:t>Double</a:t>
            </a:r>
            <a:endParaRPr lang="en-US" sz="22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265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2200" spc="-10" dirty="0">
                <a:latin typeface="Carlito"/>
                <a:cs typeface="Carlito"/>
              </a:rPr>
              <a:t>Float</a:t>
            </a:r>
            <a:endParaRPr lang="en-US" sz="22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897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B8F431-65D4-847F-2948-D64463238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74BA7BA-2D38-36B5-56D5-E8C2474D7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4BA7BA-2D38-36B5-56D5-E8C2474D7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D7F156A-9A4B-9024-A5DF-BC7FEA69AE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907CBD3-082E-F671-CD8B-92CD0F940AD3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17CF507-C91D-8A42-A6E4-130C08A827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398CE81-F7AE-81FB-DA9F-781326C2A4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23F8753-AAC7-76DD-4261-9128E4F176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1D84E63-1896-CCFD-BD6E-4C38AD514B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435F85F-3B0E-5E6B-A6AE-07418CA1E6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46B4833-CACA-AD1D-A0BE-0961B7322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spc="-10" dirty="0"/>
              <a:t>Conversions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07D981-29B4-AB77-AF15-426F545203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tring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imitiv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</a:t>
            </a:r>
            <a:r>
              <a:rPr lang="en-US" sz="1600" spc="-10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Typ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PD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ring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PD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bjec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PD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tring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bjec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ring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68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21F025-9926-6A3E-ACDA-ED89F7E38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CF917BC-9E29-DC3D-795A-CB9D34C82E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917BC-9E29-DC3D-795A-CB9D34C82E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98F63F8F-AFD7-FAA9-ED40-D39A08F0B2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D3BE423-42FE-93E3-1DFC-0D13D6E272F1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EDAEEA6-AF84-0D29-A9C3-EEF75BF983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1C243BB-2990-D64F-5B73-6274729A33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539BF6E-DC74-1E42-FC64-881E26C37A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32FD4BB-ED96-AF9F-B00F-A7BBA19D1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6E88A13-0B32-0580-81B1-C80401A9D4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D736DD6-BC7C-12C5-B91A-A6B521376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18347FC-175A-55D0-E8D1-0037EAEF2F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b="1" dirty="0"/>
              <a:t>Calling methods on interfaces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The implementation classes are hidden from the user and the methods are called using interface reference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endParaRPr lang="en-US" sz="2400" dirty="0"/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Flyable ref = new Man();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 err="1"/>
              <a:t>ref.fly</a:t>
            </a:r>
            <a:r>
              <a:rPr lang="en-US" sz="2400" dirty="0"/>
              <a:t>();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ref = new Plane();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 err="1"/>
              <a:t>ref.fly</a:t>
            </a:r>
            <a:r>
              <a:rPr lang="en-US" sz="2400" dirty="0"/>
              <a:t>(); </a:t>
            </a:r>
          </a:p>
        </p:txBody>
      </p:sp>
    </p:spTree>
    <p:extLst>
      <p:ext uri="{BB962C8B-B14F-4D97-AF65-F5344CB8AC3E}">
        <p14:creationId xmlns:p14="http://schemas.microsoft.com/office/powerpoint/2010/main" val="118414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82FD3-2B91-D5BD-7773-FB9670E20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CB84A84-17D1-5437-6FA4-EC094499D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B84A84-17D1-5437-6FA4-EC094499D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9EEC5BA-3B80-BEF6-2745-EF5CE8C5C2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20DDA17-44F3-61AA-E430-85C0B574E37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472752C-C158-AE08-3E88-BFB08B8FB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AB8EB1D-76EF-62F2-D917-E65EBD9A41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4ACCF7D-DB95-6877-07A0-C6D8EDCB1A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FD8E3FB-779A-877A-0B40-7B1BF00026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1320256-CCC7-0C4D-C621-25EDC6E29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38DE744-4D43-2399-1B0C-FB608FC51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String</a:t>
            </a:r>
            <a:r>
              <a:rPr lang="en-US" sz="2000" spc="-15" dirty="0"/>
              <a:t> </a:t>
            </a:r>
            <a:r>
              <a:rPr lang="en-US" sz="2000" dirty="0"/>
              <a:t>to</a:t>
            </a:r>
            <a:r>
              <a:rPr lang="en-US" sz="2000" spc="-15" dirty="0"/>
              <a:t> </a:t>
            </a:r>
            <a:r>
              <a:rPr lang="en-US" sz="2000" spc="-25" dirty="0"/>
              <a:t>PDT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F39BC3-08E2-0C1E-68C0-0998EE10A4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spcBef>
                <a:spcPts val="675"/>
              </a:spcBef>
              <a:buNone/>
              <a:tabLst>
                <a:tab pos="355600" algn="l"/>
              </a:tabLst>
            </a:pPr>
            <a:r>
              <a:rPr lang="en-US" sz="1600" b="1" dirty="0">
                <a:latin typeface="Arial"/>
                <a:cs typeface="Arial"/>
              </a:rPr>
              <a:t>xxx</a:t>
            </a:r>
            <a:r>
              <a:rPr lang="en-US" sz="1600" b="1" spc="-7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value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spc="-50" dirty="0">
                <a:latin typeface="Arial"/>
                <a:cs typeface="Arial"/>
              </a:rPr>
              <a:t>=</a:t>
            </a:r>
            <a:r>
              <a:rPr lang="en-US" sz="1600" b="1" dirty="0">
                <a:latin typeface="Arial"/>
                <a:cs typeface="Arial"/>
              </a:rPr>
              <a:t>	</a:t>
            </a:r>
            <a:r>
              <a:rPr lang="en-US" sz="1600" b="1" spc="-10" dirty="0" err="1">
                <a:latin typeface="Arial"/>
                <a:cs typeface="Arial"/>
              </a:rPr>
              <a:t>XXX.parseXXX</a:t>
            </a:r>
            <a:r>
              <a:rPr lang="en-US" sz="1600" b="1" spc="-10" dirty="0">
                <a:latin typeface="Arial"/>
                <a:cs typeface="Arial"/>
              </a:rPr>
              <a:t>(String</a:t>
            </a:r>
            <a:r>
              <a:rPr lang="en-US" sz="1600" b="1" dirty="0">
                <a:latin typeface="Arial"/>
                <a:cs typeface="Arial"/>
              </a:rPr>
              <a:t>	</a:t>
            </a:r>
            <a:r>
              <a:rPr lang="en-US" sz="1600" b="1" spc="-25" dirty="0">
                <a:latin typeface="Arial"/>
                <a:cs typeface="Arial"/>
              </a:rPr>
              <a:t>a);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4">
            <a:extLst>
              <a:ext uri="{FF2B5EF4-FFF2-40B4-BE49-F238E27FC236}">
                <a16:creationId xmlns:a16="http://schemas.microsoft.com/office/drawing/2014/main" id="{A37ECA26-2AA2-1CE4-70C3-2125BA44B19B}"/>
              </a:ext>
            </a:extLst>
          </p:cNvPr>
          <p:cNvGrpSpPr/>
          <p:nvPr/>
        </p:nvGrpSpPr>
        <p:grpSpPr>
          <a:xfrm>
            <a:off x="838200" y="1996454"/>
            <a:ext cx="6571615" cy="1503045"/>
            <a:chOff x="219456" y="3191255"/>
            <a:chExt cx="6571615" cy="1503045"/>
          </a:xfrm>
        </p:grpSpPr>
        <p:pic>
          <p:nvPicPr>
            <p:cNvPr id="4" name="object 5">
              <a:extLst>
                <a:ext uri="{FF2B5EF4-FFF2-40B4-BE49-F238E27FC236}">
                  <a16:creationId xmlns:a16="http://schemas.microsoft.com/office/drawing/2014/main" id="{177A8F21-4063-8B7B-B578-AC1FFA084A1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8600" y="3200399"/>
              <a:ext cx="6553200" cy="1484376"/>
            </a:xfrm>
            <a:prstGeom prst="rect">
              <a:avLst/>
            </a:prstGeom>
          </p:spPr>
        </p:pic>
        <p:sp>
          <p:nvSpPr>
            <p:cNvPr id="5" name="object 6">
              <a:extLst>
                <a:ext uri="{FF2B5EF4-FFF2-40B4-BE49-F238E27FC236}">
                  <a16:creationId xmlns:a16="http://schemas.microsoft.com/office/drawing/2014/main" id="{977B0CC4-7F31-30CB-58EE-90D710EA3566}"/>
                </a:ext>
              </a:extLst>
            </p:cNvPr>
            <p:cNvSpPr/>
            <p:nvPr/>
          </p:nvSpPr>
          <p:spPr>
            <a:xfrm>
              <a:off x="224028" y="3195827"/>
              <a:ext cx="6562725" cy="1493520"/>
            </a:xfrm>
            <a:custGeom>
              <a:avLst/>
              <a:gdLst/>
              <a:ahLst/>
              <a:cxnLst/>
              <a:rect l="l" t="t" r="r" b="b"/>
              <a:pathLst>
                <a:path w="6562725" h="1493520">
                  <a:moveTo>
                    <a:pt x="0" y="1493520"/>
                  </a:moveTo>
                  <a:lnTo>
                    <a:pt x="6562344" y="1493520"/>
                  </a:lnTo>
                  <a:lnTo>
                    <a:pt x="6562344" y="0"/>
                  </a:lnTo>
                  <a:lnTo>
                    <a:pt x="0" y="0"/>
                  </a:lnTo>
                  <a:lnTo>
                    <a:pt x="0" y="149352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8532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FC50E7-A905-4C55-67B8-28E9F4254B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A14A6A7-C523-8EEB-06BA-17DE83DC13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14A6A7-C523-8EEB-06BA-17DE83DC13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7B385DB-1E58-473D-9EC8-BEEBA9ECA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8201A6C-FBDF-2C0C-CD50-1EE26F81466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31D3A3-2CF2-1B05-6174-DFD51FF06B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D90D0DF-199B-66C9-FFA3-E7A5C89CD9A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26740B8-052F-879E-F7CA-F4D6F59B3A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96EBDBA-26B0-CE9D-F7D3-5A1097A0B2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9537355-B368-1259-422A-5A0ED935F5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0CBF556-C6EC-318C-1568-E8D49DD26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PDT</a:t>
            </a:r>
            <a:r>
              <a:rPr lang="en-US" sz="2000" spc="-60" dirty="0"/>
              <a:t> </a:t>
            </a:r>
            <a:r>
              <a:rPr lang="en-US" sz="2000" dirty="0"/>
              <a:t>to</a:t>
            </a:r>
            <a:r>
              <a:rPr lang="en-US" sz="2000" spc="-15" dirty="0"/>
              <a:t> </a:t>
            </a:r>
            <a:r>
              <a:rPr lang="en-US" sz="2000" spc="-10" dirty="0"/>
              <a:t>String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9063EE-B271-6DE2-422A-C71D172CA4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latin typeface="Arial"/>
                <a:cs typeface="Arial"/>
              </a:rPr>
              <a:t>Ha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tatic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only.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en-US" sz="1600" b="1" dirty="0">
                <a:latin typeface="Arial"/>
                <a:cs typeface="Arial"/>
              </a:rPr>
              <a:t>String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s</a:t>
            </a:r>
            <a:r>
              <a:rPr lang="en-US" sz="1600" b="1" spc="-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=</a:t>
            </a:r>
            <a:r>
              <a:rPr lang="en-US" sz="1600" b="1" spc="-5" dirty="0">
                <a:latin typeface="Arial"/>
                <a:cs typeface="Arial"/>
              </a:rPr>
              <a:t> </a:t>
            </a:r>
            <a:r>
              <a:rPr lang="en-US" sz="1600" b="1" spc="-10" dirty="0" err="1">
                <a:latin typeface="Arial"/>
                <a:cs typeface="Arial"/>
              </a:rPr>
              <a:t>XXX.toString</a:t>
            </a:r>
            <a:r>
              <a:rPr lang="en-US" sz="1600" b="1" spc="-10" dirty="0">
                <a:latin typeface="Arial"/>
                <a:cs typeface="Arial"/>
              </a:rPr>
              <a:t>(</a:t>
            </a:r>
            <a:r>
              <a:rPr lang="en-US" sz="1600" b="1" spc="-10" dirty="0" err="1">
                <a:latin typeface="Arial"/>
                <a:cs typeface="Arial"/>
              </a:rPr>
              <a:t>pdt</a:t>
            </a:r>
            <a:r>
              <a:rPr lang="en-US" sz="1600" b="1" spc="-10" dirty="0">
                <a:latin typeface="Arial"/>
                <a:cs typeface="Arial"/>
              </a:rPr>
              <a:t>);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764AD482-6255-7BB8-0F90-D3DFC5DBE77C}"/>
              </a:ext>
            </a:extLst>
          </p:cNvPr>
          <p:cNvGrpSpPr/>
          <p:nvPr/>
        </p:nvGrpSpPr>
        <p:grpSpPr>
          <a:xfrm>
            <a:off x="919971" y="2223022"/>
            <a:ext cx="6196965" cy="3148965"/>
            <a:chOff x="597408" y="2959607"/>
            <a:chExt cx="6196965" cy="314896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241A23C0-E0EE-143C-B6A0-51F9FCFA518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9600" y="2971799"/>
              <a:ext cx="6172200" cy="31242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F522CA52-F913-D065-2585-57761E60D798}"/>
                </a:ext>
              </a:extLst>
            </p:cNvPr>
            <p:cNvSpPr/>
            <p:nvPr/>
          </p:nvSpPr>
          <p:spPr>
            <a:xfrm>
              <a:off x="603504" y="2965703"/>
              <a:ext cx="6184900" cy="3136900"/>
            </a:xfrm>
            <a:custGeom>
              <a:avLst/>
              <a:gdLst/>
              <a:ahLst/>
              <a:cxnLst/>
              <a:rect l="l" t="t" r="r" b="b"/>
              <a:pathLst>
                <a:path w="6184900" h="3136900">
                  <a:moveTo>
                    <a:pt x="0" y="3136392"/>
                  </a:moveTo>
                  <a:lnTo>
                    <a:pt x="6184392" y="3136392"/>
                  </a:lnTo>
                  <a:lnTo>
                    <a:pt x="6184392" y="0"/>
                  </a:lnTo>
                  <a:lnTo>
                    <a:pt x="0" y="0"/>
                  </a:lnTo>
                  <a:lnTo>
                    <a:pt x="0" y="3136392"/>
                  </a:lnTo>
                  <a:close/>
                </a:path>
              </a:pathLst>
            </a:custGeom>
            <a:ln w="1219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3769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8C03BA-20C4-C631-8BFB-EBFEAFE2D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1C2EDFC-D906-81EF-ACE6-3A972430A9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C2EDFC-D906-81EF-ACE6-3A972430A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001AA1C-3657-8A56-65FE-37415CFC3B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5BE0571-E709-AC21-CCA9-762F49F0C93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C530AC3-E653-575D-DAEE-5D0C5331B2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2316A71-56D5-7F9D-FCDB-DCDAF072E9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D64D626-024F-09FE-E3FF-FF36A4BC71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E1EDB0A-9776-98D3-CF10-8548BD32E5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9640BA6-8337-915F-F1A6-A92DFE51A3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75C12D9-0BCA-3B9C-BB01-BF32153C1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PDT</a:t>
            </a:r>
            <a:r>
              <a:rPr lang="en-US" sz="2000" spc="-65" dirty="0"/>
              <a:t> </a:t>
            </a:r>
            <a:r>
              <a:rPr lang="en-US" sz="2000" dirty="0"/>
              <a:t>to</a:t>
            </a:r>
            <a:r>
              <a:rPr lang="en-US" sz="2000" spc="-25" dirty="0"/>
              <a:t> </a:t>
            </a:r>
            <a:r>
              <a:rPr lang="en-US" sz="2000" dirty="0"/>
              <a:t>Object-</a:t>
            </a:r>
            <a:r>
              <a:rPr lang="en-US" sz="2000" spc="-204" dirty="0"/>
              <a:t> </a:t>
            </a:r>
            <a:r>
              <a:rPr lang="en-US" sz="2000" spc="-10" dirty="0"/>
              <a:t>Autoboxing 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BBBF5E-DBDA-A784-0CBB-A8AD8B9DDF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rap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imitiv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bject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en-US" sz="1400" b="1" dirty="0">
                <a:latin typeface="Arial"/>
                <a:cs typeface="Arial"/>
              </a:rPr>
              <a:t>Using</a:t>
            </a:r>
            <a:r>
              <a:rPr lang="en-US" sz="1400" b="1" spc="-125" dirty="0">
                <a:latin typeface="Arial"/>
                <a:cs typeface="Arial"/>
              </a:rPr>
              <a:t> </a:t>
            </a:r>
            <a:r>
              <a:rPr lang="en-US" sz="1400" b="1" spc="-10" dirty="0" err="1">
                <a:latin typeface="Arial"/>
                <a:cs typeface="Arial"/>
              </a:rPr>
              <a:t>AutoBoxing</a:t>
            </a:r>
            <a:endParaRPr lang="en-US"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3F6630DA-1941-4DE1-435B-904A6E315249}"/>
              </a:ext>
            </a:extLst>
          </p:cNvPr>
          <p:cNvSpPr txBox="1"/>
          <p:nvPr/>
        </p:nvSpPr>
        <p:spPr>
          <a:xfrm>
            <a:off x="775921" y="2681970"/>
            <a:ext cx="5791200" cy="1524000"/>
          </a:xfrm>
          <a:prstGeom prst="rect">
            <a:avLst/>
          </a:prstGeom>
          <a:ln w="25907">
            <a:solidFill>
              <a:srgbClr val="000000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205104" marR="4036695">
              <a:lnSpc>
                <a:spcPct val="120000"/>
              </a:lnSpc>
              <a:spcBef>
                <a:spcPts val="280"/>
              </a:spcBef>
            </a:pPr>
            <a:r>
              <a:rPr sz="2000" dirty="0">
                <a:latin typeface="Arial"/>
                <a:cs typeface="Arial"/>
              </a:rPr>
              <a:t>int</a:t>
            </a:r>
            <a:r>
              <a:rPr sz="2000" spc="-2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x</a:t>
            </a:r>
            <a:r>
              <a:rPr sz="2000" spc="-15" dirty="0">
                <a:latin typeface="Arial"/>
                <a:cs typeface="Arial"/>
              </a:rPr>
              <a:t> </a:t>
            </a:r>
            <a:r>
              <a:rPr sz="2000" spc="-20" dirty="0">
                <a:latin typeface="Arial"/>
                <a:cs typeface="Arial"/>
              </a:rPr>
              <a:t>=10; </a:t>
            </a:r>
            <a:r>
              <a:rPr sz="2000" dirty="0">
                <a:latin typeface="Arial"/>
                <a:cs typeface="Arial"/>
              </a:rPr>
              <a:t>Integer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y</a:t>
            </a:r>
            <a:r>
              <a:rPr sz="2000" spc="-1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=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x </a:t>
            </a:r>
            <a:r>
              <a:rPr sz="2000" spc="-50" dirty="0">
                <a:latin typeface="Arial"/>
                <a:cs typeface="Arial"/>
              </a:rPr>
              <a:t>;</a:t>
            </a:r>
            <a:endParaRPr sz="2000" dirty="0">
              <a:latin typeface="Arial"/>
              <a:cs typeface="Arial"/>
            </a:endParaRPr>
          </a:p>
          <a:p>
            <a:pPr marL="205104">
              <a:lnSpc>
                <a:spcPct val="100000"/>
              </a:lnSpc>
              <a:spcBef>
                <a:spcPts val="480"/>
              </a:spcBef>
              <a:tabLst>
                <a:tab pos="3820160" algn="l"/>
              </a:tabLst>
            </a:pPr>
            <a:r>
              <a:rPr sz="2000" dirty="0">
                <a:latin typeface="Arial"/>
                <a:cs typeface="Arial"/>
              </a:rPr>
              <a:t>System.out.println</a:t>
            </a:r>
            <a:r>
              <a:rPr sz="2000" spc="-4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(“y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=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”</a:t>
            </a:r>
            <a:r>
              <a:rPr sz="2000" spc="-2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+</a:t>
            </a:r>
            <a:r>
              <a:rPr sz="2000" spc="-2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y</a:t>
            </a:r>
            <a:r>
              <a:rPr sz="2000" spc="-2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)</a:t>
            </a:r>
            <a:r>
              <a:rPr sz="2000" spc="-20" dirty="0">
                <a:latin typeface="Arial"/>
                <a:cs typeface="Arial"/>
              </a:rPr>
              <a:t> </a:t>
            </a:r>
            <a:r>
              <a:rPr sz="2000" spc="-50" dirty="0">
                <a:latin typeface="Arial"/>
                <a:cs typeface="Arial"/>
              </a:rPr>
              <a:t>;</a:t>
            </a:r>
            <a:r>
              <a:rPr sz="2000" dirty="0">
                <a:latin typeface="Arial"/>
                <a:cs typeface="Arial"/>
              </a:rPr>
              <a:t>	//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Integer</a:t>
            </a:r>
            <a:r>
              <a:rPr sz="2000" spc="-30" dirty="0">
                <a:latin typeface="Arial"/>
                <a:cs typeface="Arial"/>
              </a:rPr>
              <a:t> </a:t>
            </a:r>
            <a:r>
              <a:rPr sz="2000" spc="-10" dirty="0">
                <a:latin typeface="Arial"/>
                <a:cs typeface="Arial"/>
              </a:rPr>
              <a:t>Object</a:t>
            </a:r>
            <a:endParaRPr sz="2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256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43ACE-1A55-4A39-FCCF-CC718AB60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02550F4-C4B0-FA0A-A38E-4698B9E13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2550F4-C4B0-FA0A-A38E-4698B9E13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8223E3A-7387-E422-B85C-2A2673C520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F040A1B-8696-67D7-FF18-2D36C9F49F3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D5CADB3-CB67-B6F6-CE43-215B98AE4B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F077CAC-1792-383A-9F30-645798C663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65E75C6-E972-FEA4-CB46-F667CAFED8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4F51AEF-DE96-DE17-0794-BFF5B3B3E16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ED0DC690-C857-86BB-7BE6-8EACB37EAA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51B6F73F-3003-F3A1-F4FF-1FFED3FC9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 dirty="0"/>
              <a:t>Object</a:t>
            </a:r>
            <a:r>
              <a:rPr lang="en-US" sz="2000" spc="-25" dirty="0"/>
              <a:t> </a:t>
            </a:r>
            <a:r>
              <a:rPr lang="en-US" sz="2000" dirty="0"/>
              <a:t>to</a:t>
            </a:r>
            <a:r>
              <a:rPr lang="en-US" sz="2000" spc="-10" dirty="0"/>
              <a:t> String</a:t>
            </a:r>
            <a:r>
              <a:rPr lang="en-US" sz="2000" spc="-10" dirty="0">
                <a:latin typeface="Carlito"/>
                <a:cs typeface="Carlito"/>
              </a:rPr>
              <a:t>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E3BF85-DDC1-78C1-4496-4535408372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spcBef>
                <a:spcPts val="675"/>
              </a:spcBef>
              <a:buNone/>
              <a:tabLst>
                <a:tab pos="355600" algn="l"/>
              </a:tabLst>
            </a:pPr>
            <a:r>
              <a:rPr lang="en-US" sz="1600" b="1" dirty="0">
                <a:latin typeface="Arial"/>
                <a:cs typeface="Arial"/>
              </a:rPr>
              <a:t>String</a:t>
            </a:r>
            <a:r>
              <a:rPr lang="en-US" sz="1600" b="1" spc="-3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value</a:t>
            </a:r>
            <a:r>
              <a:rPr lang="en-US" sz="1600" b="1" spc="-5" dirty="0">
                <a:latin typeface="Arial"/>
                <a:cs typeface="Arial"/>
              </a:rPr>
              <a:t> </a:t>
            </a:r>
            <a:r>
              <a:rPr lang="en-US" sz="1600" b="1" spc="-50" dirty="0">
                <a:latin typeface="Arial"/>
                <a:cs typeface="Arial"/>
              </a:rPr>
              <a:t>=</a:t>
            </a:r>
            <a:r>
              <a:rPr lang="en-US" sz="1600" b="1" dirty="0">
                <a:latin typeface="Arial"/>
                <a:cs typeface="Arial"/>
              </a:rPr>
              <a:t>	</a:t>
            </a:r>
            <a:r>
              <a:rPr lang="en-US" sz="1600" b="1" spc="-10" dirty="0" err="1">
                <a:latin typeface="Arial"/>
                <a:cs typeface="Arial"/>
              </a:rPr>
              <a:t>instancevariable.toString</a:t>
            </a:r>
            <a:r>
              <a:rPr lang="en-US" sz="1600" b="1" spc="-10" dirty="0">
                <a:latin typeface="Arial"/>
                <a:cs typeface="Arial"/>
              </a:rPr>
              <a:t>();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4">
            <a:extLst>
              <a:ext uri="{FF2B5EF4-FFF2-40B4-BE49-F238E27FC236}">
                <a16:creationId xmlns:a16="http://schemas.microsoft.com/office/drawing/2014/main" id="{17675B01-9025-AE8D-0899-D39293F88194}"/>
              </a:ext>
            </a:extLst>
          </p:cNvPr>
          <p:cNvGrpSpPr/>
          <p:nvPr/>
        </p:nvGrpSpPr>
        <p:grpSpPr>
          <a:xfrm>
            <a:off x="838200" y="2370376"/>
            <a:ext cx="7183120" cy="2685415"/>
            <a:chOff x="829055" y="2962655"/>
            <a:chExt cx="7183120" cy="2685415"/>
          </a:xfrm>
        </p:grpSpPr>
        <p:pic>
          <p:nvPicPr>
            <p:cNvPr id="4" name="object 5">
              <a:extLst>
                <a:ext uri="{FF2B5EF4-FFF2-40B4-BE49-F238E27FC236}">
                  <a16:creationId xmlns:a16="http://schemas.microsoft.com/office/drawing/2014/main" id="{45802D34-3FEB-1DE7-0881-34A024B7BDB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38199" y="2971799"/>
              <a:ext cx="7164324" cy="2667000"/>
            </a:xfrm>
            <a:prstGeom prst="rect">
              <a:avLst/>
            </a:prstGeom>
          </p:spPr>
        </p:pic>
        <p:sp>
          <p:nvSpPr>
            <p:cNvPr id="5" name="object 6">
              <a:extLst>
                <a:ext uri="{FF2B5EF4-FFF2-40B4-BE49-F238E27FC236}">
                  <a16:creationId xmlns:a16="http://schemas.microsoft.com/office/drawing/2014/main" id="{F70E5511-ECC2-19DE-7FD4-3A7F0C501116}"/>
                </a:ext>
              </a:extLst>
            </p:cNvPr>
            <p:cNvSpPr/>
            <p:nvPr/>
          </p:nvSpPr>
          <p:spPr>
            <a:xfrm>
              <a:off x="833627" y="2967227"/>
              <a:ext cx="7173595" cy="2676525"/>
            </a:xfrm>
            <a:custGeom>
              <a:avLst/>
              <a:gdLst/>
              <a:ahLst/>
              <a:cxnLst/>
              <a:rect l="l" t="t" r="r" b="b"/>
              <a:pathLst>
                <a:path w="7173595" h="2676525">
                  <a:moveTo>
                    <a:pt x="0" y="2676144"/>
                  </a:moveTo>
                  <a:lnTo>
                    <a:pt x="7173468" y="2676144"/>
                  </a:lnTo>
                  <a:lnTo>
                    <a:pt x="7173468" y="0"/>
                  </a:lnTo>
                  <a:lnTo>
                    <a:pt x="0" y="0"/>
                  </a:lnTo>
                  <a:lnTo>
                    <a:pt x="0" y="26761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722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6AED2-1DC1-30E3-6B2F-B0B2A1342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7751CDA-CB60-B72D-D4AC-01AEE9D76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751CDA-CB60-B72D-D4AC-01AEE9D76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95A61AE9-8350-BF42-E32C-E39A8FAFC8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32BA2ED-0FDE-7CD2-A547-F63B814535B8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18C8303-7CA4-4D95-FE19-6682176D26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AE8282B-13CB-46C7-6327-84262DAEEF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3AF7680-A3FE-2FB3-DE3A-12FA4506D0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63E6D19-DA0C-DEEC-C3B9-5A98CFCEE7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0FF435A-E018-C8CF-025C-A9E749AFBA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B4C400C-8193-53A1-9195-4F3D51CEB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 spc="-10" dirty="0"/>
              <a:t>String : 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4DFD5C-645E-ACE4-F389-50AB7D2086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presents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haracter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rings. 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mutabl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quenc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haracters.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’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sert,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ppend,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let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ring object</a:t>
            </a: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spc="-1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8" name="object 3">
            <a:extLst>
              <a:ext uri="{FF2B5EF4-FFF2-40B4-BE49-F238E27FC236}">
                <a16:creationId xmlns:a16="http://schemas.microsoft.com/office/drawing/2014/main" id="{718097FE-D4B7-D4DA-B1F3-C07DEB74A15F}"/>
              </a:ext>
            </a:extLst>
          </p:cNvPr>
          <p:cNvGrpSpPr/>
          <p:nvPr/>
        </p:nvGrpSpPr>
        <p:grpSpPr>
          <a:xfrm>
            <a:off x="786769" y="2257872"/>
            <a:ext cx="5638800" cy="3742945"/>
            <a:chOff x="600455" y="1514855"/>
            <a:chExt cx="5638800" cy="4514215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9B1AB72F-795E-388E-3040-CBCA84ED73F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9599" y="1523999"/>
              <a:ext cx="5620512" cy="4495800"/>
            </a:xfrm>
            <a:prstGeom prst="rect">
              <a:avLst/>
            </a:prstGeom>
          </p:spPr>
        </p:pic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D3741A7C-9E59-A654-087D-57598351CD86}"/>
                </a:ext>
              </a:extLst>
            </p:cNvPr>
            <p:cNvSpPr/>
            <p:nvPr/>
          </p:nvSpPr>
          <p:spPr>
            <a:xfrm>
              <a:off x="605027" y="1519427"/>
              <a:ext cx="5629910" cy="4505325"/>
            </a:xfrm>
            <a:custGeom>
              <a:avLst/>
              <a:gdLst/>
              <a:ahLst/>
              <a:cxnLst/>
              <a:rect l="l" t="t" r="r" b="b"/>
              <a:pathLst>
                <a:path w="5629910" h="4505325">
                  <a:moveTo>
                    <a:pt x="0" y="4504944"/>
                  </a:moveTo>
                  <a:lnTo>
                    <a:pt x="5629656" y="4504944"/>
                  </a:lnTo>
                  <a:lnTo>
                    <a:pt x="5629656" y="0"/>
                  </a:lnTo>
                  <a:lnTo>
                    <a:pt x="0" y="0"/>
                  </a:lnTo>
                  <a:lnTo>
                    <a:pt x="0" y="45049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1306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8D8063-9B71-5E7F-FBA1-DD6B9AFC9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179F502-F39A-35CD-17C6-2802D1DDD4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79F502-F39A-35CD-17C6-2802D1DDD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AAA3869-883E-D265-ACD1-2ADA6C8576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079AAE3-E2EA-A970-012D-4A346175B20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F64E9F4-25F1-F81A-CB6F-3887A7A3D3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3D83B0B-20BA-70EF-65C4-CFAE2423F4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99245FF-6DD3-B944-F60F-7DCF2ACD6C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1F04A6D-1D1C-EF62-7E6E-1B0F322FC3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DA7DBFC-E221-D1E4-55B1-1058D8A249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F01377C-9FFD-1BF6-D779-005C17AEF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 spc="-10" dirty="0" err="1"/>
              <a:t>StringBuffer</a:t>
            </a:r>
            <a:r>
              <a:rPr lang="en-US" sz="3200" spc="-10" dirty="0"/>
              <a:t>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F1587-08AE-6C56-1838-23E2570542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tabl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quenc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haracters.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  <a:tab pos="6823075" algn="l"/>
              </a:tabLst>
            </a:pPr>
            <a:r>
              <a:rPr lang="en-US" sz="1600" dirty="0" err="1">
                <a:latin typeface="Arial"/>
                <a:cs typeface="Arial"/>
              </a:rPr>
              <a:t>StringBuffer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s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ynchronized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25" dirty="0" err="1">
                <a:latin typeface="Arial"/>
                <a:cs typeface="Arial"/>
              </a:rPr>
              <a:t>is</a:t>
            </a:r>
            <a:r>
              <a:rPr lang="en-US" sz="1600" spc="-10" dirty="0" err="1">
                <a:latin typeface="Arial"/>
                <a:cs typeface="Arial"/>
              </a:rPr>
              <a:t>thread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saf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ltipl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hreads.</a:t>
            </a: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spc="-1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8" name="object 3">
            <a:extLst>
              <a:ext uri="{FF2B5EF4-FFF2-40B4-BE49-F238E27FC236}">
                <a16:creationId xmlns:a16="http://schemas.microsoft.com/office/drawing/2014/main" id="{242363FC-BB92-0329-0081-C71CB3B9B514}"/>
              </a:ext>
            </a:extLst>
          </p:cNvPr>
          <p:cNvGrpSpPr/>
          <p:nvPr/>
        </p:nvGrpSpPr>
        <p:grpSpPr>
          <a:xfrm>
            <a:off x="1267415" y="2286270"/>
            <a:ext cx="4336160" cy="3948930"/>
            <a:chOff x="600455" y="1490472"/>
            <a:chExt cx="5183505" cy="4615180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0823E4C3-B796-3017-8A00-2744A9CA232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9599" y="1499616"/>
              <a:ext cx="5164836" cy="4596384"/>
            </a:xfrm>
            <a:prstGeom prst="rect">
              <a:avLst/>
            </a:prstGeom>
          </p:spPr>
        </p:pic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321FA52A-8AFC-20F9-A4B5-992B8D39FDF1}"/>
                </a:ext>
              </a:extLst>
            </p:cNvPr>
            <p:cNvSpPr/>
            <p:nvPr/>
          </p:nvSpPr>
          <p:spPr>
            <a:xfrm>
              <a:off x="605027" y="1495044"/>
              <a:ext cx="5173980" cy="4605655"/>
            </a:xfrm>
            <a:custGeom>
              <a:avLst/>
              <a:gdLst/>
              <a:ahLst/>
              <a:cxnLst/>
              <a:rect l="l" t="t" r="r" b="b"/>
              <a:pathLst>
                <a:path w="5173980" h="4605655">
                  <a:moveTo>
                    <a:pt x="0" y="4605528"/>
                  </a:moveTo>
                  <a:lnTo>
                    <a:pt x="5173980" y="4605528"/>
                  </a:lnTo>
                  <a:lnTo>
                    <a:pt x="5173980" y="0"/>
                  </a:lnTo>
                  <a:lnTo>
                    <a:pt x="0" y="0"/>
                  </a:lnTo>
                  <a:lnTo>
                    <a:pt x="0" y="4605528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93100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1B40A8-F5F1-2D7D-CE51-9AC3237F1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87A9BB6-9D11-B5EA-946A-D6998598A6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7A9BB6-9D11-B5EA-946A-D6998598A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55414D02-6922-44D2-70CE-AEC097ACC6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6EF5FA1-D515-1BF8-DB55-BC834BB5799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BF2946D-45EF-02DD-EF24-1206EC86B9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95D128D-E4FB-5270-BDF8-3B8F23B76C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41CD464-9402-425C-1CDC-339357A066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298E87D-51F2-317B-CF9F-EAA0760684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87F23E8-A8CE-E9A9-7642-C7858E042FC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D4A6FC3-516D-3E2F-7E91-81652147F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 spc="-10" dirty="0"/>
              <a:t>StringBuilder: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105961-1DCE-249C-4F98-09A4BED572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100" dirty="0"/>
              <a:t>A</a:t>
            </a:r>
            <a:r>
              <a:rPr lang="en-US" sz="1100" spc="-170" dirty="0"/>
              <a:t> </a:t>
            </a:r>
            <a:r>
              <a:rPr lang="en-US" sz="1100" dirty="0"/>
              <a:t>mutable</a:t>
            </a:r>
            <a:r>
              <a:rPr lang="en-US" sz="1100" spc="-65" dirty="0"/>
              <a:t> </a:t>
            </a:r>
            <a:r>
              <a:rPr lang="en-US" sz="1100" dirty="0"/>
              <a:t>sequence</a:t>
            </a:r>
            <a:r>
              <a:rPr lang="en-US" sz="1100" spc="-35" dirty="0"/>
              <a:t> </a:t>
            </a:r>
            <a:r>
              <a:rPr lang="en-US" sz="1100" dirty="0"/>
              <a:t>of</a:t>
            </a:r>
            <a:r>
              <a:rPr lang="en-US" sz="1100" spc="-50" dirty="0"/>
              <a:t> </a:t>
            </a:r>
            <a:r>
              <a:rPr lang="en-US" sz="1100" spc="-10" dirty="0"/>
              <a:t>characters.</a:t>
            </a: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100" spc="-10" dirty="0"/>
              <a:t>An</a:t>
            </a:r>
            <a:r>
              <a:rPr lang="en-US" sz="1100" spc="-160" dirty="0"/>
              <a:t> </a:t>
            </a:r>
            <a:r>
              <a:rPr lang="en-US" sz="1100" dirty="0"/>
              <a:t>API</a:t>
            </a:r>
            <a:r>
              <a:rPr lang="en-US" sz="1100" spc="-45" dirty="0"/>
              <a:t> </a:t>
            </a:r>
            <a:r>
              <a:rPr lang="en-US" sz="1100" dirty="0"/>
              <a:t>similar</a:t>
            </a:r>
            <a:r>
              <a:rPr lang="en-US" sz="1100" spc="-20" dirty="0"/>
              <a:t> </a:t>
            </a:r>
            <a:r>
              <a:rPr lang="en-US" sz="1100" dirty="0"/>
              <a:t>to</a:t>
            </a:r>
            <a:r>
              <a:rPr lang="en-US" sz="1100" spc="-30" dirty="0"/>
              <a:t> </a:t>
            </a:r>
            <a:r>
              <a:rPr lang="en-US" sz="1100" spc="-10" dirty="0" err="1"/>
              <a:t>StringBuffer</a:t>
            </a:r>
            <a:r>
              <a:rPr lang="en-US" sz="1100" spc="-10" dirty="0"/>
              <a:t>.</a:t>
            </a:r>
          </a:p>
          <a:p>
            <a:pPr marL="355600" marR="5080" indent="-343535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100" dirty="0"/>
              <a:t>StringBuilder</a:t>
            </a:r>
            <a:r>
              <a:rPr lang="en-US" sz="1100" spc="-30" dirty="0"/>
              <a:t> </a:t>
            </a:r>
            <a:r>
              <a:rPr lang="en-US" sz="1100" dirty="0"/>
              <a:t>methods</a:t>
            </a:r>
            <a:r>
              <a:rPr lang="en-US" sz="1100" spc="-65" dirty="0"/>
              <a:t> </a:t>
            </a:r>
            <a:r>
              <a:rPr lang="en-US" sz="1100" dirty="0"/>
              <a:t>are</a:t>
            </a:r>
            <a:r>
              <a:rPr lang="en-US" sz="1100" spc="-70" dirty="0"/>
              <a:t> </a:t>
            </a:r>
            <a:r>
              <a:rPr lang="en-US" sz="1100" dirty="0"/>
              <a:t>not</a:t>
            </a:r>
            <a:r>
              <a:rPr lang="en-US" sz="1100" spc="-70" dirty="0"/>
              <a:t> </a:t>
            </a:r>
            <a:r>
              <a:rPr lang="en-US" sz="1100" spc="-10" dirty="0"/>
              <a:t>synchronized,</a:t>
            </a:r>
            <a:r>
              <a:rPr lang="en-US" sz="1100" spc="-40" dirty="0"/>
              <a:t> </a:t>
            </a:r>
            <a:r>
              <a:rPr lang="en-US" sz="1100" dirty="0"/>
              <a:t>so</a:t>
            </a:r>
            <a:r>
              <a:rPr lang="en-US" sz="1100" spc="-75" dirty="0"/>
              <a:t> </a:t>
            </a:r>
            <a:r>
              <a:rPr lang="en-US" sz="1100" spc="-25" dirty="0"/>
              <a:t>not </a:t>
            </a:r>
            <a:r>
              <a:rPr lang="en-US" sz="1100" dirty="0"/>
              <a:t>thread</a:t>
            </a:r>
            <a:r>
              <a:rPr lang="en-US" sz="1100" spc="-105" dirty="0"/>
              <a:t> </a:t>
            </a:r>
            <a:r>
              <a:rPr lang="en-US" sz="1100" spc="-20" dirty="0"/>
              <a:t>safe</a:t>
            </a: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100" dirty="0"/>
              <a:t>Cannot</a:t>
            </a:r>
            <a:r>
              <a:rPr lang="en-US" sz="1100" spc="-60" dirty="0"/>
              <a:t> </a:t>
            </a:r>
            <a:r>
              <a:rPr lang="en-US" sz="1100" dirty="0"/>
              <a:t>be</a:t>
            </a:r>
            <a:r>
              <a:rPr lang="en-US" sz="1100" spc="-70" dirty="0"/>
              <a:t> </a:t>
            </a:r>
            <a:r>
              <a:rPr lang="en-US" sz="1100" dirty="0"/>
              <a:t>used</a:t>
            </a:r>
            <a:r>
              <a:rPr lang="en-US" sz="1100" spc="-70" dirty="0"/>
              <a:t> </a:t>
            </a:r>
            <a:r>
              <a:rPr lang="en-US" sz="1100" dirty="0"/>
              <a:t>with</a:t>
            </a:r>
            <a:r>
              <a:rPr lang="en-US" sz="1100" spc="-75" dirty="0"/>
              <a:t> </a:t>
            </a:r>
            <a:r>
              <a:rPr lang="en-US" sz="1100" dirty="0"/>
              <a:t>multiple</a:t>
            </a:r>
            <a:r>
              <a:rPr lang="en-US" sz="1100" spc="-55" dirty="0"/>
              <a:t> </a:t>
            </a:r>
            <a:r>
              <a:rPr lang="en-US" sz="1100" spc="-10" dirty="0"/>
              <a:t>threads. </a:t>
            </a:r>
            <a:r>
              <a:rPr lang="en-US" sz="1100" dirty="0"/>
              <a:t>is</a:t>
            </a:r>
            <a:r>
              <a:rPr lang="en-US" sz="1100" spc="-20" dirty="0"/>
              <a:t> </a:t>
            </a:r>
            <a:r>
              <a:rPr lang="en-US" sz="1100" spc="-10" dirty="0"/>
              <a:t>faster</a:t>
            </a:r>
          </a:p>
          <a:p>
            <a:pPr marL="12700">
              <a:lnSpc>
                <a:spcPct val="100000"/>
              </a:lnSpc>
              <a:spcBef>
                <a:spcPts val="675"/>
              </a:spcBef>
              <a:buNone/>
              <a:tabLst>
                <a:tab pos="355600" algn="l"/>
              </a:tabLst>
            </a:pPr>
            <a:endParaRPr lang="en-US" sz="1100" dirty="0">
              <a:latin typeface="Arial"/>
              <a:cs typeface="Arial"/>
            </a:endParaRPr>
          </a:p>
        </p:txBody>
      </p:sp>
      <p:grpSp>
        <p:nvGrpSpPr>
          <p:cNvPr id="8" name="object 3">
            <a:extLst>
              <a:ext uri="{FF2B5EF4-FFF2-40B4-BE49-F238E27FC236}">
                <a16:creationId xmlns:a16="http://schemas.microsoft.com/office/drawing/2014/main" id="{6A1CEBA9-7B2D-753D-7AD9-14FA013D4527}"/>
              </a:ext>
            </a:extLst>
          </p:cNvPr>
          <p:cNvGrpSpPr/>
          <p:nvPr/>
        </p:nvGrpSpPr>
        <p:grpSpPr>
          <a:xfrm>
            <a:off x="1185149" y="2438400"/>
            <a:ext cx="4285615" cy="4034154"/>
            <a:chOff x="600455" y="1743455"/>
            <a:chExt cx="4285615" cy="4034154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CEF976FB-255E-44CF-1DBA-BF5F8FA1812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9599" y="1752599"/>
              <a:ext cx="4267200" cy="4015740"/>
            </a:xfrm>
            <a:prstGeom prst="rect">
              <a:avLst/>
            </a:prstGeom>
          </p:spPr>
        </p:pic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E66CED28-D9D9-01E2-1FDA-A45411324CB4}"/>
                </a:ext>
              </a:extLst>
            </p:cNvPr>
            <p:cNvSpPr/>
            <p:nvPr/>
          </p:nvSpPr>
          <p:spPr>
            <a:xfrm>
              <a:off x="605027" y="1748027"/>
              <a:ext cx="4276725" cy="4025265"/>
            </a:xfrm>
            <a:custGeom>
              <a:avLst/>
              <a:gdLst/>
              <a:ahLst/>
              <a:cxnLst/>
              <a:rect l="l" t="t" r="r" b="b"/>
              <a:pathLst>
                <a:path w="4276725" h="4025265">
                  <a:moveTo>
                    <a:pt x="0" y="4024884"/>
                  </a:moveTo>
                  <a:lnTo>
                    <a:pt x="4276344" y="4024884"/>
                  </a:lnTo>
                  <a:lnTo>
                    <a:pt x="4276344" y="0"/>
                  </a:lnTo>
                  <a:lnTo>
                    <a:pt x="0" y="0"/>
                  </a:lnTo>
                  <a:lnTo>
                    <a:pt x="0" y="402488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7583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7CFE7F-D131-3D19-85FE-582630A24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F0F1D72-AE14-7371-F873-B21E8442A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0F1D72-AE14-7371-F873-B21E8442A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8FF31B4E-F440-D26E-7833-11F683194F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942E492-6DB0-D440-28CA-EC3EC4889CFC}"/>
              </a:ext>
            </a:extLst>
          </p:cNvPr>
          <p:cNvSpPr txBox="1"/>
          <p:nvPr/>
        </p:nvSpPr>
        <p:spPr>
          <a:xfrm>
            <a:off x="381000" y="1944844"/>
            <a:ext cx="576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Java Util</a:t>
            </a:r>
            <a:endParaRPr lang="en-IN" sz="1100" b="1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563744D-6291-A1B9-BCBD-771CD113AA2A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2CDAA21-8FC3-7C71-E738-1D7CA41063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B915081-E263-9E44-6787-84B0A79CC9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39B2B59-4185-3D84-1BD8-192CB17E40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C705493-C796-6A0B-E7EF-4CF2F672F7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82D58B5-AF3C-1792-B07E-69710D3BE4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426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94B9BA-0658-57E2-69EF-9A5EE8118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CD9C104-8DC7-E019-BE0F-DBC4D44589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D9C104-8DC7-E019-BE0F-DBC4D44589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E24C4096-039D-B34D-B2BF-E42A0894A7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55E6762-995C-81F3-5835-AFAD5F19EAF8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47779E78-6799-F6B4-E680-2A027D184FF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1D5C376-6291-28F6-3800-2A29E53297A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081E690-2633-AE38-0148-64D45E4BE25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355C510-5407-1067-27A2-2D431DF04B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29545CE-96CA-AA8E-8D37-A0694987BA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E1EB45DB-6E88-8EC5-76B3-14641F19A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Contents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41AB42-161C-E4FD-0B64-9FF5B9D440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6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amework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–</a:t>
            </a:r>
            <a:r>
              <a:rPr lang="en-US" sz="1600" spc="-9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Overview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spc="-20" dirty="0">
                <a:latin typeface="Arial"/>
                <a:cs typeface="Arial"/>
              </a:rPr>
              <a:t>Lis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spc="-25" dirty="0">
                <a:latin typeface="Arial"/>
                <a:cs typeface="Arial"/>
              </a:rPr>
              <a:t>Se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spc="-25" dirty="0">
                <a:latin typeface="Arial"/>
                <a:cs typeface="Arial"/>
              </a:rPr>
              <a:t>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xample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unctional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terfaces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809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1B2CAE-1629-3611-BEBE-9AA02941DC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220B743-3F7B-D38F-D993-AF8C5E3E5D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20B743-3F7B-D38F-D993-AF8C5E3E5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F2FC998-1112-D08F-45B5-96F44F064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55DAB2C-B107-2919-B1C9-F68C2B3C1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0A222FF-6D88-FC05-EC8D-0BC0B177A7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F04C761-AF04-15CC-5D8B-C1B478E1E6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2799A8E-8219-FB1B-BD8B-C56FD62129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0A6134E-6B1A-DDF8-DE6A-53A18AB4045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FC88969-19F5-C428-F12A-8652DEDE9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F5E4999-3838-EAEC-9322-E211B5054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 dirty="0"/>
              <a:t>Collection</a:t>
            </a:r>
            <a:r>
              <a:rPr lang="en-US" sz="2000" spc="-215" dirty="0"/>
              <a:t> </a:t>
            </a:r>
            <a:r>
              <a:rPr lang="en-US" sz="2000" spc="-10" dirty="0"/>
              <a:t>Framework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4C6F3D-718E-2CE1-B163-3F938137E8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ct val="100000"/>
              </a:lnSpc>
              <a:spcBef>
                <a:spcPts val="1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J</a:t>
            </a:r>
            <a:r>
              <a:rPr lang="en-US" sz="1600" b="1" dirty="0">
                <a:latin typeface="Arial"/>
                <a:cs typeface="Arial"/>
              </a:rPr>
              <a:t>ava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collections</a:t>
            </a:r>
            <a:r>
              <a:rPr lang="en-US" sz="1600" b="1" spc="-6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framework</a:t>
            </a:r>
            <a:r>
              <a:rPr lang="en-US" sz="1600" b="1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(</a:t>
            </a:r>
            <a:r>
              <a:rPr lang="en-US" sz="1600" b="1" dirty="0">
                <a:latin typeface="Arial"/>
                <a:cs typeface="Arial"/>
              </a:rPr>
              <a:t>JCF</a:t>
            </a:r>
            <a:r>
              <a:rPr lang="en-US" sz="1600" dirty="0">
                <a:latin typeface="Arial"/>
                <a:cs typeface="Arial"/>
              </a:rPr>
              <a:t>)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lasses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s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10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monly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usable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</a:t>
            </a:r>
            <a:r>
              <a:rPr lang="en-US" sz="1600" spc="-114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tructur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JCF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vide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oth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fin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rious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dirty="0">
                <a:latin typeface="Arial"/>
                <a:cs typeface="Arial"/>
              </a:rPr>
              <a:t>collection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8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e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hem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s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reated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ingl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uni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java.util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package</a:t>
            </a:r>
          </a:p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roup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ll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lement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ollection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norder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orted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om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llection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pt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uplicate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l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m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o</a:t>
            </a:r>
            <a:r>
              <a:rPr lang="en-US" sz="1600" spc="-25" dirty="0">
                <a:latin typeface="Arial"/>
                <a:cs typeface="Arial"/>
              </a:rPr>
              <a:t> no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amework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has:</a:t>
            </a:r>
            <a:endParaRPr lang="en-US" sz="1600" dirty="0">
              <a:latin typeface="Arial"/>
              <a:cs typeface="Arial"/>
            </a:endParaRPr>
          </a:p>
          <a:p>
            <a:pPr marL="756285" lvl="1" indent="-286385">
              <a:lnSpc>
                <a:spcPct val="100000"/>
              </a:lnSpc>
              <a:spcBef>
                <a:spcPts val="409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b="1" spc="-10" dirty="0">
                <a:latin typeface="Carlito"/>
                <a:cs typeface="Carlito"/>
              </a:rPr>
              <a:t>Interfaces</a:t>
            </a:r>
            <a:r>
              <a:rPr lang="en-US" sz="1600" spc="-10" dirty="0">
                <a:latin typeface="Carlito"/>
                <a:cs typeface="Carlito"/>
              </a:rPr>
              <a:t>: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abstract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data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ypes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representing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collections.</a:t>
            </a:r>
            <a:endParaRPr lang="en-US" sz="1600" dirty="0">
              <a:latin typeface="Carlito"/>
              <a:cs typeface="Carlito"/>
            </a:endParaRPr>
          </a:p>
          <a:p>
            <a:pPr marL="756285" marR="689610" lvl="1" indent="-287020">
              <a:lnSpc>
                <a:spcPct val="100000"/>
              </a:lnSpc>
              <a:spcBef>
                <a:spcPts val="48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b="1" dirty="0">
                <a:latin typeface="Carlito"/>
                <a:cs typeface="Carlito"/>
              </a:rPr>
              <a:t>Implementations</a:t>
            </a:r>
            <a:r>
              <a:rPr lang="en-US" sz="1600" dirty="0">
                <a:latin typeface="Carlito"/>
                <a:cs typeface="Carlito"/>
              </a:rPr>
              <a:t>:</a:t>
            </a:r>
            <a:r>
              <a:rPr lang="en-US" sz="1600" spc="-8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concrete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implementations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f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collection interfaces.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ey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are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reusable</a:t>
            </a:r>
            <a:r>
              <a:rPr lang="en-US" sz="1600" spc="-6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data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structures.</a:t>
            </a:r>
            <a:endParaRPr lang="en-US" sz="1600" dirty="0">
              <a:latin typeface="Carlito"/>
              <a:cs typeface="Carlito"/>
            </a:endParaRPr>
          </a:p>
          <a:p>
            <a:pPr marL="756285" lvl="1" indent="-286385">
              <a:lnSpc>
                <a:spcPct val="100000"/>
              </a:lnSpc>
              <a:spcBef>
                <a:spcPts val="480"/>
              </a:spcBef>
              <a:buFont typeface="Arial"/>
              <a:buChar char="–"/>
              <a:tabLst>
                <a:tab pos="756285" algn="l"/>
              </a:tabLst>
            </a:pPr>
            <a:r>
              <a:rPr lang="en-US" sz="1600" b="1" dirty="0">
                <a:latin typeface="Carlito"/>
                <a:cs typeface="Carlito"/>
              </a:rPr>
              <a:t>Algorithms</a:t>
            </a:r>
            <a:r>
              <a:rPr lang="en-US" sz="1600" dirty="0">
                <a:latin typeface="Carlito"/>
                <a:cs typeface="Carlito"/>
              </a:rPr>
              <a:t>:</a:t>
            </a:r>
            <a:r>
              <a:rPr lang="en-US" sz="1600" spc="-7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methods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o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perform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useful</a:t>
            </a:r>
            <a:r>
              <a:rPr lang="en-US" sz="1600" spc="-5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computations,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like</a:t>
            </a:r>
            <a:r>
              <a:rPr lang="en-US" sz="1600" spc="-35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searching</a:t>
            </a:r>
            <a:endParaRPr lang="en-US" sz="1600" dirty="0">
              <a:latin typeface="Carlito"/>
              <a:cs typeface="Carlito"/>
            </a:endParaRPr>
          </a:p>
          <a:p>
            <a:pPr marL="756285">
              <a:lnSpc>
                <a:spcPct val="100000"/>
              </a:lnSpc>
            </a:pPr>
            <a:r>
              <a:rPr lang="en-US" sz="1600" dirty="0">
                <a:latin typeface="Carlito"/>
                <a:cs typeface="Carlito"/>
              </a:rPr>
              <a:t>and</a:t>
            </a:r>
            <a:r>
              <a:rPr lang="en-US" sz="1600" spc="-4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sorting</a:t>
            </a:r>
            <a:r>
              <a:rPr lang="en-US" sz="1600" spc="37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n</a:t>
            </a:r>
            <a:r>
              <a:rPr lang="en-US" sz="1600" spc="-65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objects</a:t>
            </a:r>
            <a:r>
              <a:rPr lang="en-US" sz="1600" spc="-5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that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implement</a:t>
            </a:r>
            <a:r>
              <a:rPr lang="en-US" sz="1600" spc="-20" dirty="0">
                <a:latin typeface="Carlito"/>
                <a:cs typeface="Carlito"/>
              </a:rPr>
              <a:t> </a:t>
            </a:r>
            <a:r>
              <a:rPr lang="en-US" sz="1600" dirty="0">
                <a:latin typeface="Carlito"/>
                <a:cs typeface="Carlito"/>
              </a:rPr>
              <a:t>collection</a:t>
            </a:r>
            <a:r>
              <a:rPr lang="en-US" sz="1600" spc="-40" dirty="0">
                <a:latin typeface="Carlito"/>
                <a:cs typeface="Carlito"/>
              </a:rPr>
              <a:t> </a:t>
            </a:r>
            <a:r>
              <a:rPr lang="en-US" sz="1600" spc="-10" dirty="0">
                <a:latin typeface="Carlito"/>
                <a:cs typeface="Carlito"/>
              </a:rPr>
              <a:t>interfaces.</a:t>
            </a:r>
            <a:endParaRPr lang="en-US" sz="1600" dirty="0">
              <a:latin typeface="Carlito"/>
              <a:cs typeface="Carlito"/>
            </a:endParaRPr>
          </a:p>
          <a:p>
            <a:pPr marL="355600" indent="-342900">
              <a:lnSpc>
                <a:spcPct val="100000"/>
              </a:lnSpc>
              <a:spcBef>
                <a:spcPts val="575"/>
              </a:spcBef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053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CE3EF-FAA8-CBC2-89F3-1F9DFF278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AE19DF8-60DC-6872-12C3-4022C056A8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E19DF8-60DC-6872-12C3-4022C056A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7F0CD6C-4F83-5A5B-CD5C-01477F775B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6B76905-C839-B2CB-C5D9-23B744146E4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C2132C-77B9-13A5-6B29-7E176C0C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C00C46F-65CA-BC4B-BC78-15AB99650A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F94658E-8D43-F5E5-E47B-FD1888E9B8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77633A5-41EC-EACF-72EB-BADF45348A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235D911-6B4A-FF91-83AB-BB5BBAFD51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4265513-4DCB-0265-C267-AD145E5EC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3AB2150-A8AF-0A99-A94A-FBE0F91C4F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b="1" dirty="0"/>
              <a:t>More on interface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Using interfaces abstraction is achieved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Gives scope for extension in future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A class can implement multiple interfaces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 • An interface can extend another interface.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An interface without methods is called Marker or Tag interface (</a:t>
            </a:r>
            <a:r>
              <a:rPr lang="en-US" sz="2000" dirty="0" err="1"/>
              <a:t>eg.</a:t>
            </a:r>
            <a:r>
              <a:rPr lang="en-US" sz="2000" dirty="0"/>
              <a:t> Serializable, Cloneable)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000" dirty="0"/>
              <a:t>• An interface with only one abstract method is called as Functional Interface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665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BF59F-DE66-6E5B-A918-8502E6217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F6F08C-D387-9AAF-95A4-93643D6A7E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6F08C-D387-9AAF-95A4-93643D6A7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015EF768-D224-13BD-0D41-FB20C52743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2A43337-DF95-80FD-C03E-5B79966DE2B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CCDC86E-EF29-5A5C-A8B6-5DD2F69BF3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B8C564E-25C5-641E-02E4-407106B34B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6593B2E-76B3-9F43-8D72-12723EF37A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5F8C605-404E-91C2-EE0D-C6F9D80254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3F6C730F-7FD0-C247-11EA-68327C168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0E2E0BC-C68C-3A6D-AFAD-3998DA1BB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20" dirty="0">
                <a:latin typeface="Carlito"/>
                <a:cs typeface="Carlito"/>
              </a:rPr>
              <a:t>Interfaces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034E05-9F97-748D-C295-11E2956A5C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core</a:t>
            </a:r>
            <a:r>
              <a:rPr lang="en-US" sz="1600" i="1" spc="-3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collection</a:t>
            </a:r>
            <a:r>
              <a:rPr lang="en-US" sz="1600" i="1" spc="-30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interfaces</a:t>
            </a:r>
            <a:r>
              <a:rPr lang="en-US" sz="1600" i="1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manipulate </a:t>
            </a:r>
            <a:r>
              <a:rPr lang="en-US" sz="1600" dirty="0">
                <a:latin typeface="Arial"/>
                <a:cs typeface="Arial"/>
              </a:rPr>
              <a:t>collections,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m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nother</a:t>
            </a:r>
            <a:r>
              <a:rPr lang="en-US" sz="1800" spc="-10" dirty="0">
                <a:latin typeface="Arial"/>
                <a:cs typeface="Arial"/>
              </a:rPr>
              <a:t>.</a:t>
            </a: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3" name="object 4">
            <a:extLst>
              <a:ext uri="{FF2B5EF4-FFF2-40B4-BE49-F238E27FC236}">
                <a16:creationId xmlns:a16="http://schemas.microsoft.com/office/drawing/2014/main" id="{5F9F019D-211A-0FD8-9E5D-9C92D016235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356216" y="2465460"/>
            <a:ext cx="5760720" cy="273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32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D7A5EE-78AD-78B0-0AE8-4AF1D7429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DF8500B-83AD-30CA-6935-DA13F66466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F8500B-83AD-30CA-6935-DA13F6646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B3D13BE-F8E1-94FC-43B6-C209212FB0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8131A28-A71A-A4A1-B668-5816CDF129AD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23D50DD-F91B-221D-2A1C-13577020A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C8DB925-4790-825A-25E0-27FE7F43DA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42793F0-1329-8A4F-810D-658F3D8DD2F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635AB67-C51F-39DD-E92E-16634E8D0F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8FC71A3-E98D-49F2-89CF-770CCD6447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2BF79C3-5E8A-8E40-4C32-104D1CC11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20" dirty="0"/>
              <a:t>List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751B84-11F1-CC33-D9D3-95CA5CE00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llection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e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mov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dex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Behave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ke a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riable-</a:t>
            </a:r>
            <a:r>
              <a:rPr lang="en-US" sz="1600" dirty="0">
                <a:latin typeface="Arial"/>
                <a:cs typeface="Arial"/>
              </a:rPr>
              <a:t>siz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rray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Order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em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ell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efine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y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dex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ositional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s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lements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endParaRPr lang="en-US" sz="1600" b="1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600" b="1" dirty="0">
                <a:latin typeface="Arial"/>
                <a:cs typeface="Arial"/>
              </a:rPr>
              <a:t>Classes</a:t>
            </a:r>
            <a:r>
              <a:rPr lang="en-US" sz="1600" b="1" spc="-5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that</a:t>
            </a:r>
            <a:r>
              <a:rPr lang="en-US" sz="1600" b="1" spc="-5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implemen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spc="-20" dirty="0">
                <a:latin typeface="Arial"/>
                <a:cs typeface="Arial"/>
              </a:rPr>
              <a:t>Lis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ArrayLis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LinkedLis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Vector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D81F49D0-EA44-2BD6-6DFA-3D43DF77E7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3536" y="3490675"/>
            <a:ext cx="4582164" cy="195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43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0A9389-E80B-A25F-1B76-AED77F040E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18A3E4-E971-4CA9-3D35-86D12238BB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18A3E4-E971-4CA9-3D35-86D12238B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A04A8A8-907B-468A-31DA-FF07B88683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3C26036-E2D1-DB86-90BF-EAF9A53B8649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FBC564F-750A-F3ED-DAF9-C07E867021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BBB5019-63EB-D82A-A73B-6DD721B11E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A899579-60D8-A4C8-E5A6-56322141D3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F956385-241F-1601-71B0-929A89FA640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BD5A15C-E3E3-C5A4-478C-865E449570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6301632-2708-3F29-CFD9-003E16355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 err="1"/>
              <a:t>ArrayList</a:t>
            </a:r>
            <a:r>
              <a:rPr lang="en-US" sz="3200" spc="-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C3C600-3118-92A9-AFE1-C8871A6E16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dirty="0" err="1">
                <a:latin typeface="Arial"/>
                <a:cs typeface="Arial"/>
              </a:rPr>
              <a:t>ArrayList</a:t>
            </a:r>
            <a:r>
              <a:rPr lang="en-US" sz="1600" b="1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vide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sizable-array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s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terfac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uplicate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cluding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null.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en-US" sz="1600" b="1" spc="-25" dirty="0" err="1">
                <a:latin typeface="Arial"/>
                <a:cs typeface="Arial"/>
              </a:rPr>
              <a:t>eg.</a:t>
            </a:r>
            <a:endParaRPr lang="en-US" sz="1600" b="1" spc="-2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8" name="object 3">
            <a:extLst>
              <a:ext uri="{FF2B5EF4-FFF2-40B4-BE49-F238E27FC236}">
                <a16:creationId xmlns:a16="http://schemas.microsoft.com/office/drawing/2014/main" id="{F2678AF8-0405-858B-0D3F-11BF0D9C92EF}"/>
              </a:ext>
            </a:extLst>
          </p:cNvPr>
          <p:cNvGrpSpPr/>
          <p:nvPr/>
        </p:nvGrpSpPr>
        <p:grpSpPr>
          <a:xfrm>
            <a:off x="1272936" y="2362200"/>
            <a:ext cx="6132830" cy="4257040"/>
            <a:chOff x="675131" y="1548383"/>
            <a:chExt cx="6132830" cy="4257040"/>
          </a:xfrm>
        </p:grpSpPr>
        <p:pic>
          <p:nvPicPr>
            <p:cNvPr id="10" name="object 4">
              <a:extLst>
                <a:ext uri="{FF2B5EF4-FFF2-40B4-BE49-F238E27FC236}">
                  <a16:creationId xmlns:a16="http://schemas.microsoft.com/office/drawing/2014/main" id="{84DA947F-E5BD-A147-178D-70666C3EB72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4275" y="1557527"/>
              <a:ext cx="6114288" cy="4238244"/>
            </a:xfrm>
            <a:prstGeom prst="rect">
              <a:avLst/>
            </a:prstGeom>
          </p:spPr>
        </p:pic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D1CC7B8C-0136-0451-2EC7-CED7EC0EDA0F}"/>
                </a:ext>
              </a:extLst>
            </p:cNvPr>
            <p:cNvSpPr/>
            <p:nvPr/>
          </p:nvSpPr>
          <p:spPr>
            <a:xfrm>
              <a:off x="679703" y="1552955"/>
              <a:ext cx="6123940" cy="4247515"/>
            </a:xfrm>
            <a:custGeom>
              <a:avLst/>
              <a:gdLst/>
              <a:ahLst/>
              <a:cxnLst/>
              <a:rect l="l" t="t" r="r" b="b"/>
              <a:pathLst>
                <a:path w="6123940" h="4247515">
                  <a:moveTo>
                    <a:pt x="0" y="4247388"/>
                  </a:moveTo>
                  <a:lnTo>
                    <a:pt x="6123432" y="4247388"/>
                  </a:lnTo>
                  <a:lnTo>
                    <a:pt x="6123432" y="0"/>
                  </a:lnTo>
                  <a:lnTo>
                    <a:pt x="0" y="0"/>
                  </a:lnTo>
                  <a:lnTo>
                    <a:pt x="0" y="424738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6959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1F96C3-4B88-D9C0-A3C0-8736823187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8224C73-85EB-621E-DC60-C6FFB49B58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24C73-85EB-621E-DC60-C6FFB49B5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07873200-20C7-28E9-65AA-B5FBAEE13E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6176300-E36B-8326-BE23-4649171E70AF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789F125-1A39-E085-8D06-6FBC8D3F2D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D2AE4A-5C5D-A229-79BC-F417EA391E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1E3E272-97BE-0667-51AE-BB8AB578DC2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3146258-B477-212C-8435-71D428E7B8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1654C2B-5C4D-007A-146B-90832F72566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9E5AB1D8-AF55-CAE7-8A83-EDB48814E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35" dirty="0"/>
              <a:t> </a:t>
            </a:r>
            <a:r>
              <a:rPr lang="en-US" sz="3200" dirty="0"/>
              <a:t>adding</a:t>
            </a:r>
            <a:r>
              <a:rPr lang="en-US" sz="3200" spc="-40" dirty="0"/>
              <a:t> </a:t>
            </a:r>
            <a:r>
              <a:rPr lang="en-US" sz="3200" dirty="0"/>
              <a:t>Customer</a:t>
            </a:r>
            <a:r>
              <a:rPr lang="en-US" sz="3200" spc="-5" dirty="0"/>
              <a:t> </a:t>
            </a:r>
            <a:r>
              <a:rPr lang="en-US" sz="3200" spc="-10" dirty="0"/>
              <a:t>objects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EBBCEC4-D35B-CC1E-D5A2-91F0C76A8270}"/>
              </a:ext>
            </a:extLst>
          </p:cNvPr>
          <p:cNvGrpSpPr/>
          <p:nvPr/>
        </p:nvGrpSpPr>
        <p:grpSpPr>
          <a:xfrm>
            <a:off x="232411" y="1624134"/>
            <a:ext cx="7002780" cy="3507104"/>
            <a:chOff x="818388" y="1908048"/>
            <a:chExt cx="7002780" cy="3507104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06B67C1A-10C6-B0F2-69B1-B19EE7C16B4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27532" y="1917192"/>
              <a:ext cx="6984492" cy="3488436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509CA025-7299-7A53-4662-9609DB046587}"/>
                </a:ext>
              </a:extLst>
            </p:cNvPr>
            <p:cNvSpPr/>
            <p:nvPr/>
          </p:nvSpPr>
          <p:spPr>
            <a:xfrm>
              <a:off x="822960" y="1912620"/>
              <a:ext cx="6993890" cy="3497579"/>
            </a:xfrm>
            <a:custGeom>
              <a:avLst/>
              <a:gdLst/>
              <a:ahLst/>
              <a:cxnLst/>
              <a:rect l="l" t="t" r="r" b="b"/>
              <a:pathLst>
                <a:path w="6993890" h="3497579">
                  <a:moveTo>
                    <a:pt x="0" y="3497579"/>
                  </a:moveTo>
                  <a:lnTo>
                    <a:pt x="6993635" y="3497579"/>
                  </a:lnTo>
                  <a:lnTo>
                    <a:pt x="6993635" y="0"/>
                  </a:lnTo>
                  <a:lnTo>
                    <a:pt x="0" y="0"/>
                  </a:lnTo>
                  <a:lnTo>
                    <a:pt x="0" y="3497579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5548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9DB1A-BCF6-3D40-DE27-08D3617C5B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39AD41-29E7-6324-EC0F-301B00EDCC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39AD41-29E7-6324-EC0F-301B00EDC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3F3BF4B-EC63-9A28-27C9-7E615B20B5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9B04507-F34D-C755-EBC9-9C3407820EF1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ABA32B0-D990-3621-7E62-4346A4AB95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30E0FF5-9DD7-D651-CE87-FE64DC2FF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E2EEBD3-CD8F-AE41-0B7C-507E39C71E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0594D6B-E2B9-38E5-670F-C41FFE279F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6C71CC0-7039-2EF8-BD7A-301A046C1E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0928E80-0BF8-3553-B10C-ADCE2F8A2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dirty="0"/>
              <a:t>Iterator</a:t>
            </a:r>
            <a:r>
              <a:rPr lang="en-US" sz="4400" spc="-85" dirty="0"/>
              <a:t> </a:t>
            </a:r>
            <a:r>
              <a:rPr lang="en-US" sz="4400" dirty="0"/>
              <a:t>and</a:t>
            </a:r>
            <a:r>
              <a:rPr lang="en-US" sz="4400" spc="-85" dirty="0"/>
              <a:t> </a:t>
            </a:r>
            <a:r>
              <a:rPr lang="en-US" sz="4400" spc="-10" dirty="0" err="1"/>
              <a:t>ListIterator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35E911-46FA-9328-C000-FBB6D0E4E8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171450" indent="-343535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  <a:tab pos="4256405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s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25" dirty="0">
                <a:latin typeface="Arial"/>
                <a:cs typeface="Arial"/>
              </a:rPr>
              <a:t> of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equential </a:t>
            </a:r>
            <a:r>
              <a:rPr lang="en-US" sz="1600" dirty="0">
                <a:latin typeface="Arial"/>
                <a:cs typeface="Arial"/>
              </a:rPr>
              <a:t>manner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ou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knowing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nderlying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representation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  <a:tab pos="4046220" algn="l"/>
              </a:tabLst>
            </a:pP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sed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terator </a:t>
            </a:r>
            <a:r>
              <a:rPr lang="en-US" sz="1600" dirty="0">
                <a:latin typeface="Arial"/>
                <a:cs typeface="Arial"/>
              </a:rPr>
              <a:t>design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pattern 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terator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l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war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cces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 err="1">
                <a:latin typeface="Arial"/>
                <a:cs typeface="Arial"/>
              </a:rPr>
              <a:t>ListIterator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erat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oth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war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backward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spc="-10" dirty="0">
                <a:latin typeface="Arial"/>
                <a:cs typeface="Arial"/>
              </a:rPr>
              <a:t>Direction</a:t>
            </a:r>
          </a:p>
          <a:p>
            <a:pPr marL="355600">
              <a:lnSpc>
                <a:spcPct val="100000"/>
              </a:lnSpc>
            </a:pPr>
            <a:endParaRPr lang="en-US" sz="1600" spc="-10" dirty="0">
              <a:latin typeface="Arial"/>
              <a:cs typeface="Arial"/>
            </a:endParaRPr>
          </a:p>
          <a:p>
            <a:pPr marL="355600"/>
            <a:r>
              <a:rPr lang="en-US" sz="1600" b="1" dirty="0">
                <a:latin typeface="Arial"/>
                <a:cs typeface="Arial"/>
              </a:rPr>
              <a:t>iterator()</a:t>
            </a:r>
            <a:r>
              <a:rPr lang="en-US" sz="1600" b="1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tur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erator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ver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 </a:t>
            </a:r>
            <a:r>
              <a:rPr lang="en-US" sz="1600" spc="-10" dirty="0">
                <a:latin typeface="Arial"/>
                <a:cs typeface="Arial"/>
              </a:rPr>
              <a:t>elements.</a:t>
            </a:r>
            <a:endParaRPr lang="en-US" sz="1600" dirty="0">
              <a:latin typeface="Arial"/>
              <a:cs typeface="Arial"/>
            </a:endParaRPr>
          </a:p>
          <a:p>
            <a:pPr marL="355600"/>
            <a:r>
              <a:rPr lang="en-US" sz="1600" b="1" dirty="0">
                <a:solidFill>
                  <a:srgbClr val="FF0000"/>
                </a:solidFill>
                <a:latin typeface="Arial"/>
                <a:cs typeface="Arial"/>
              </a:rPr>
              <a:t>public</a:t>
            </a:r>
            <a:r>
              <a:rPr lang="en-US" sz="1600" b="1" spc="-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600" b="1" dirty="0">
                <a:solidFill>
                  <a:srgbClr val="FF0000"/>
                </a:solidFill>
                <a:latin typeface="Arial"/>
                <a:cs typeface="Arial"/>
              </a:rPr>
              <a:t>Iterator&lt;E&gt;</a:t>
            </a:r>
            <a:r>
              <a:rPr lang="en-US" sz="1600" b="1" spc="-6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600" b="1" spc="-10" dirty="0">
                <a:solidFill>
                  <a:srgbClr val="FF0000"/>
                </a:solidFill>
                <a:latin typeface="Arial"/>
                <a:cs typeface="Arial"/>
              </a:rPr>
              <a:t>iterator()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endParaRPr lang="en-US" sz="1600" dirty="0">
              <a:latin typeface="Arial"/>
              <a:cs typeface="Arial"/>
            </a:endParaRPr>
          </a:p>
          <a:p>
            <a:pPr marL="355600"/>
            <a:r>
              <a:rPr lang="en-US" sz="1600" b="1" dirty="0">
                <a:latin typeface="Arial"/>
                <a:cs typeface="Arial"/>
              </a:rPr>
              <a:t>Methods</a:t>
            </a:r>
            <a:r>
              <a:rPr lang="en-US" sz="1600" b="1" spc="-5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in</a:t>
            </a:r>
            <a:r>
              <a:rPr lang="en-US" sz="1600" b="1" spc="-25" dirty="0">
                <a:latin typeface="Arial"/>
                <a:cs typeface="Arial"/>
              </a:rPr>
              <a:t> </a:t>
            </a:r>
            <a:r>
              <a:rPr lang="en-US" sz="1600" b="1" spc="-10" dirty="0">
                <a:latin typeface="Arial"/>
                <a:cs typeface="Arial"/>
              </a:rPr>
              <a:t>Iterator</a:t>
            </a:r>
            <a:r>
              <a:rPr lang="en-US" sz="1600" b="1" dirty="0">
                <a:latin typeface="Arial"/>
                <a:cs typeface="Arial"/>
              </a:rPr>
              <a:t>		Few</a:t>
            </a:r>
            <a:r>
              <a:rPr lang="en-US" sz="1600" b="1" spc="-5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Methods</a:t>
            </a:r>
            <a:r>
              <a:rPr lang="en-US" sz="1600" b="1" spc="-4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in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b="1" spc="-10" dirty="0" err="1">
                <a:latin typeface="Arial"/>
                <a:cs typeface="Arial"/>
              </a:rPr>
              <a:t>ListIterator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endParaRPr lang="en-US" sz="1600" dirty="0">
              <a:latin typeface="Arial"/>
              <a:cs typeface="Arial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8B697D1A-B47E-DEBE-DA1D-8EE6BBDF2672}"/>
              </a:ext>
            </a:extLst>
          </p:cNvPr>
          <p:cNvSpPr txBox="1"/>
          <p:nvPr/>
        </p:nvSpPr>
        <p:spPr>
          <a:xfrm>
            <a:off x="763536" y="4275802"/>
            <a:ext cx="3241675" cy="1511935"/>
          </a:xfrm>
          <a:prstGeom prst="rect">
            <a:avLst/>
          </a:prstGeom>
          <a:ln w="9144">
            <a:solidFill>
              <a:srgbClr val="000000"/>
            </a:solidFill>
          </a:ln>
        </p:spPr>
        <p:txBody>
          <a:bodyPr vert="horz" wrap="square" lIns="0" tIns="48260" rIns="0" bIns="0" rtlCol="0">
            <a:spAutoFit/>
          </a:bodyPr>
          <a:lstStyle/>
          <a:p>
            <a:pPr marL="280670" marR="878205" indent="-134620">
              <a:lnSpc>
                <a:spcPct val="120000"/>
              </a:lnSpc>
              <a:spcBef>
                <a:spcPts val="380"/>
              </a:spcBef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boolean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hasNext() </a:t>
            </a: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E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next()</a:t>
            </a:r>
            <a:endParaRPr sz="2000" dirty="0">
              <a:latin typeface="Arial"/>
              <a:cs typeface="Arial"/>
            </a:endParaRPr>
          </a:p>
          <a:p>
            <a:pPr marL="280670">
              <a:lnSpc>
                <a:spcPct val="100000"/>
              </a:lnSpc>
              <a:spcBef>
                <a:spcPts val="480"/>
              </a:spcBef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void</a:t>
            </a:r>
            <a:r>
              <a:rPr sz="20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remove()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350E3C7F-B969-59E7-0641-050D9861D374}"/>
              </a:ext>
            </a:extLst>
          </p:cNvPr>
          <p:cNvSpPr txBox="1"/>
          <p:nvPr/>
        </p:nvSpPr>
        <p:spPr>
          <a:xfrm>
            <a:off x="4187825" y="4232539"/>
            <a:ext cx="3241675" cy="1511935"/>
          </a:xfrm>
          <a:prstGeom prst="rect">
            <a:avLst/>
          </a:prstGeom>
          <a:ln w="9144">
            <a:solidFill>
              <a:srgbClr val="000000"/>
            </a:solidFill>
          </a:ln>
        </p:spPr>
        <p:txBody>
          <a:bodyPr vert="horz" wrap="square" lIns="0" tIns="48260" rIns="0" bIns="0" rtlCol="0">
            <a:spAutoFit/>
          </a:bodyPr>
          <a:lstStyle/>
          <a:p>
            <a:pPr marL="280670" marR="878205" indent="-134620">
              <a:lnSpc>
                <a:spcPct val="120000"/>
              </a:lnSpc>
              <a:spcBef>
                <a:spcPts val="380"/>
              </a:spcBef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boolean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hasNext() </a:t>
            </a: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E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next()</a:t>
            </a:r>
            <a:endParaRPr sz="2000" dirty="0">
              <a:latin typeface="Arial"/>
              <a:cs typeface="Arial"/>
            </a:endParaRPr>
          </a:p>
          <a:p>
            <a:pPr marL="280670">
              <a:lnSpc>
                <a:spcPct val="100000"/>
              </a:lnSpc>
              <a:spcBef>
                <a:spcPts val="480"/>
              </a:spcBef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void</a:t>
            </a:r>
            <a:r>
              <a:rPr sz="2000" b="1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rgbClr val="FF0000"/>
                </a:solidFill>
                <a:latin typeface="Arial"/>
                <a:cs typeface="Arial"/>
              </a:rPr>
              <a:t>remove()</a:t>
            </a:r>
            <a:endParaRPr sz="2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991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715FA9-4823-77C0-4125-AF12F2562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05D1D81-46A6-1230-D57C-CB17A74AD9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5D1D81-46A6-1230-D57C-CB17A74AD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E09B5E4E-8D86-48CD-91DB-83636D0D35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CADD2C6-608E-BC56-DF9E-87074F78A9C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59F7B61-72B1-2B5F-6B77-FCA0A6C936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D3F373B-E519-410A-5F49-F66968C62E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5B4EEBD-BB5C-DC8E-9737-2C75052B11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D7EC5A2-D7B1-A9D9-3BE9-47B4B26FE6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F72EA274-C5DD-031B-A4CB-2136EAD250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32083DF-CB7A-9377-861F-F08AA1CC2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25" dirty="0"/>
              <a:t> </a:t>
            </a:r>
            <a:r>
              <a:rPr lang="en-US" sz="3200" dirty="0"/>
              <a:t>for</a:t>
            </a:r>
            <a:r>
              <a:rPr lang="en-US" sz="3200" spc="-5" dirty="0"/>
              <a:t> </a:t>
            </a:r>
            <a:r>
              <a:rPr lang="en-US" sz="3200" spc="-10" dirty="0"/>
              <a:t>Iterator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B7821FD2-3B21-1B5D-DC4B-CCDB4B6D8542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838200" y="1419225"/>
            <a:ext cx="7834313" cy="38478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latin typeface="Carlito"/>
                <a:cs typeface="Carlito"/>
              </a:rPr>
              <a:t>For</a:t>
            </a:r>
            <a:r>
              <a:rPr sz="2000" b="1" spc="-50" dirty="0">
                <a:latin typeface="Carlito"/>
                <a:cs typeface="Carlito"/>
              </a:rPr>
              <a:t> </a:t>
            </a:r>
            <a:r>
              <a:rPr sz="2000" b="1" dirty="0">
                <a:latin typeface="Carlito"/>
                <a:cs typeface="Carlito"/>
              </a:rPr>
              <a:t>String</a:t>
            </a:r>
            <a:r>
              <a:rPr sz="2000" b="1" spc="-35" dirty="0">
                <a:latin typeface="Carlito"/>
                <a:cs typeface="Carlito"/>
              </a:rPr>
              <a:t> </a:t>
            </a:r>
            <a:r>
              <a:rPr sz="2000" b="1" spc="-10" dirty="0">
                <a:latin typeface="Carlito"/>
                <a:cs typeface="Carlito"/>
              </a:rPr>
              <a:t>objects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endParaRPr lang="en-US" sz="2000" b="1" dirty="0"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endParaRPr lang="en-US" sz="2000" b="1" dirty="0"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r>
              <a:rPr lang="en-US" sz="2000" b="1" dirty="0">
                <a:latin typeface="Carlito"/>
                <a:cs typeface="Carlito"/>
              </a:rPr>
              <a:t>For</a:t>
            </a:r>
            <a:r>
              <a:rPr lang="en-US" sz="2000" b="1" spc="-70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user</a:t>
            </a:r>
            <a:r>
              <a:rPr lang="en-US" sz="2000" b="1" spc="-40" dirty="0">
                <a:latin typeface="Carlito"/>
                <a:cs typeface="Carlito"/>
              </a:rPr>
              <a:t> </a:t>
            </a:r>
            <a:r>
              <a:rPr lang="en-US" sz="2000" b="1" dirty="0">
                <a:latin typeface="Carlito"/>
                <a:cs typeface="Carlito"/>
              </a:rPr>
              <a:t>defined(Customer)</a:t>
            </a:r>
            <a:r>
              <a:rPr lang="en-US" sz="2000" b="1" spc="-65" dirty="0">
                <a:latin typeface="Carlito"/>
                <a:cs typeface="Carlito"/>
              </a:rPr>
              <a:t> </a:t>
            </a:r>
            <a:r>
              <a:rPr lang="en-US" sz="2000" b="1" spc="-10" dirty="0">
                <a:latin typeface="Carlito"/>
                <a:cs typeface="Carlito"/>
              </a:rPr>
              <a:t>objects</a:t>
            </a:r>
          </a:p>
          <a:p>
            <a:pPr marL="12700">
              <a:spcBef>
                <a:spcPts val="105"/>
              </a:spcBef>
            </a:pPr>
            <a:endParaRPr lang="en-US" sz="2000" b="1" spc="-10" dirty="0"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endParaRPr lang="en-US" sz="20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sz="2000" dirty="0">
              <a:latin typeface="Carlito"/>
              <a:cs typeface="Carlito"/>
            </a:endParaRPr>
          </a:p>
        </p:txBody>
      </p:sp>
      <p:grpSp>
        <p:nvGrpSpPr>
          <p:cNvPr id="4" name="object 3">
            <a:extLst>
              <a:ext uri="{FF2B5EF4-FFF2-40B4-BE49-F238E27FC236}">
                <a16:creationId xmlns:a16="http://schemas.microsoft.com/office/drawing/2014/main" id="{424C71D7-3F71-9840-F35F-377A76F85314}"/>
              </a:ext>
            </a:extLst>
          </p:cNvPr>
          <p:cNvGrpSpPr/>
          <p:nvPr/>
        </p:nvGrpSpPr>
        <p:grpSpPr>
          <a:xfrm>
            <a:off x="772087" y="1865018"/>
            <a:ext cx="4604385" cy="1673860"/>
            <a:chOff x="746759" y="2124455"/>
            <a:chExt cx="4604385" cy="1673860"/>
          </a:xfrm>
        </p:grpSpPr>
        <p:pic>
          <p:nvPicPr>
            <p:cNvPr id="5" name="object 4">
              <a:extLst>
                <a:ext uri="{FF2B5EF4-FFF2-40B4-BE49-F238E27FC236}">
                  <a16:creationId xmlns:a16="http://schemas.microsoft.com/office/drawing/2014/main" id="{A9884020-7288-EF19-1D55-5D9EBA8CE6E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5903" y="2133599"/>
              <a:ext cx="4585716" cy="1655064"/>
            </a:xfrm>
            <a:prstGeom prst="rect">
              <a:avLst/>
            </a:prstGeom>
          </p:spPr>
        </p:pic>
        <p:sp>
          <p:nvSpPr>
            <p:cNvPr id="8" name="object 5">
              <a:extLst>
                <a:ext uri="{FF2B5EF4-FFF2-40B4-BE49-F238E27FC236}">
                  <a16:creationId xmlns:a16="http://schemas.microsoft.com/office/drawing/2014/main" id="{9AA9E2C5-222D-5FDD-68A8-92CE7F66E138}"/>
                </a:ext>
              </a:extLst>
            </p:cNvPr>
            <p:cNvSpPr/>
            <p:nvPr/>
          </p:nvSpPr>
          <p:spPr>
            <a:xfrm>
              <a:off x="751331" y="2129027"/>
              <a:ext cx="4594860" cy="1664335"/>
            </a:xfrm>
            <a:custGeom>
              <a:avLst/>
              <a:gdLst/>
              <a:ahLst/>
              <a:cxnLst/>
              <a:rect l="l" t="t" r="r" b="b"/>
              <a:pathLst>
                <a:path w="4594860" h="1664335">
                  <a:moveTo>
                    <a:pt x="0" y="1664208"/>
                  </a:moveTo>
                  <a:lnTo>
                    <a:pt x="4594860" y="1664208"/>
                  </a:lnTo>
                  <a:lnTo>
                    <a:pt x="4594860" y="0"/>
                  </a:lnTo>
                  <a:lnTo>
                    <a:pt x="0" y="0"/>
                  </a:lnTo>
                  <a:lnTo>
                    <a:pt x="0" y="166420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" name="object 8">
            <a:extLst>
              <a:ext uri="{FF2B5EF4-FFF2-40B4-BE49-F238E27FC236}">
                <a16:creationId xmlns:a16="http://schemas.microsoft.com/office/drawing/2014/main" id="{332FFF6A-C2CE-D9BF-3019-74DB294A7E6F}"/>
              </a:ext>
            </a:extLst>
          </p:cNvPr>
          <p:cNvGrpSpPr/>
          <p:nvPr/>
        </p:nvGrpSpPr>
        <p:grpSpPr>
          <a:xfrm>
            <a:off x="746759" y="4572000"/>
            <a:ext cx="4770120" cy="1530350"/>
            <a:chOff x="746759" y="4572000"/>
            <a:chExt cx="4770120" cy="1530350"/>
          </a:xfrm>
        </p:grpSpPr>
        <p:pic>
          <p:nvPicPr>
            <p:cNvPr id="11" name="object 9">
              <a:extLst>
                <a:ext uri="{FF2B5EF4-FFF2-40B4-BE49-F238E27FC236}">
                  <a16:creationId xmlns:a16="http://schemas.microsoft.com/office/drawing/2014/main" id="{CFABE1B3-D29A-AF70-16E3-110C928E0756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55903" y="4581144"/>
              <a:ext cx="4751832" cy="1511808"/>
            </a:xfrm>
            <a:prstGeom prst="rect">
              <a:avLst/>
            </a:prstGeom>
          </p:spPr>
        </p:pic>
        <p:sp>
          <p:nvSpPr>
            <p:cNvPr id="12" name="object 10">
              <a:extLst>
                <a:ext uri="{FF2B5EF4-FFF2-40B4-BE49-F238E27FC236}">
                  <a16:creationId xmlns:a16="http://schemas.microsoft.com/office/drawing/2014/main" id="{129BDCB0-7B23-0F72-42F3-CD900900B147}"/>
                </a:ext>
              </a:extLst>
            </p:cNvPr>
            <p:cNvSpPr/>
            <p:nvPr/>
          </p:nvSpPr>
          <p:spPr>
            <a:xfrm>
              <a:off x="751331" y="4576572"/>
              <a:ext cx="4761230" cy="1521460"/>
            </a:xfrm>
            <a:custGeom>
              <a:avLst/>
              <a:gdLst/>
              <a:ahLst/>
              <a:cxnLst/>
              <a:rect l="l" t="t" r="r" b="b"/>
              <a:pathLst>
                <a:path w="4761230" h="1521460">
                  <a:moveTo>
                    <a:pt x="0" y="1520952"/>
                  </a:moveTo>
                  <a:lnTo>
                    <a:pt x="4760976" y="1520952"/>
                  </a:lnTo>
                  <a:lnTo>
                    <a:pt x="4760976" y="0"/>
                  </a:lnTo>
                  <a:lnTo>
                    <a:pt x="0" y="0"/>
                  </a:lnTo>
                  <a:lnTo>
                    <a:pt x="0" y="152095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0666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39681-6642-0D7F-1A7D-DACB8391B5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08E73DF-9558-2EA0-4275-65E239053E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8E73DF-9558-2EA0-4275-65E239053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BF9BFF2-5B27-247F-5B67-2537CD0808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71AE3EE-EEF5-7397-F69E-2A43D3019A18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90211EA-48C2-3C58-B423-3BF51D1FCF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BE16EF-B755-4CAC-7ED0-2FE388E5D6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40868A1-2AEF-60D4-DA54-28403DFB96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315D9A2-79E5-C8CC-2749-EA2399B18CE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BC9662D-3B6E-1064-720A-02FC76F300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0A2C66F-402C-4FB7-D14A-E2AE0BA22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 dirty="0"/>
              <a:t>Example</a:t>
            </a:r>
            <a:r>
              <a:rPr lang="en-US" sz="2000" spc="-45" dirty="0"/>
              <a:t> </a:t>
            </a:r>
            <a:r>
              <a:rPr lang="en-US" sz="2000" dirty="0"/>
              <a:t>for</a:t>
            </a:r>
            <a:r>
              <a:rPr lang="en-US" sz="2000" spc="-25" dirty="0"/>
              <a:t> </a:t>
            </a:r>
            <a:r>
              <a:rPr lang="en-US" sz="2000" dirty="0" err="1"/>
              <a:t>ListIterator</a:t>
            </a:r>
            <a:r>
              <a:rPr lang="en-US" sz="2000" spc="-55" dirty="0"/>
              <a:t> </a:t>
            </a:r>
            <a:r>
              <a:rPr lang="en-US" sz="2000" dirty="0"/>
              <a:t>for</a:t>
            </a:r>
            <a:r>
              <a:rPr lang="en-US" sz="2000" spc="-45" dirty="0"/>
              <a:t> </a:t>
            </a:r>
            <a:r>
              <a:rPr lang="en-US" sz="2000" dirty="0"/>
              <a:t>reversing</a:t>
            </a:r>
            <a:r>
              <a:rPr lang="en-US" sz="2000" spc="-55" dirty="0"/>
              <a:t> </a:t>
            </a:r>
            <a:r>
              <a:rPr lang="en-US" sz="2000" dirty="0"/>
              <a:t>the</a:t>
            </a:r>
            <a:r>
              <a:rPr lang="en-US" sz="2000" spc="-35" dirty="0"/>
              <a:t> </a:t>
            </a:r>
            <a:r>
              <a:rPr lang="en-US" sz="2000" spc="-20" dirty="0"/>
              <a:t>list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3C83299B-01BB-2B7D-15E4-515F11E840DB}"/>
              </a:ext>
            </a:extLst>
          </p:cNvPr>
          <p:cNvGrpSpPr/>
          <p:nvPr/>
        </p:nvGrpSpPr>
        <p:grpSpPr>
          <a:xfrm>
            <a:off x="32479" y="1554773"/>
            <a:ext cx="8298180" cy="3834765"/>
            <a:chOff x="387095" y="1979676"/>
            <a:chExt cx="8298180" cy="383476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CD275EE8-6B40-B25D-EAE2-4336541069F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96239" y="1988819"/>
              <a:ext cx="8279892" cy="3816096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41090F19-2011-DE2B-E802-7394CF5C213F}"/>
                </a:ext>
              </a:extLst>
            </p:cNvPr>
            <p:cNvSpPr/>
            <p:nvPr/>
          </p:nvSpPr>
          <p:spPr>
            <a:xfrm>
              <a:off x="391667" y="1984248"/>
              <a:ext cx="8289290" cy="3825240"/>
            </a:xfrm>
            <a:custGeom>
              <a:avLst/>
              <a:gdLst/>
              <a:ahLst/>
              <a:cxnLst/>
              <a:rect l="l" t="t" r="r" b="b"/>
              <a:pathLst>
                <a:path w="8289290" h="3825240">
                  <a:moveTo>
                    <a:pt x="0" y="3825240"/>
                  </a:moveTo>
                  <a:lnTo>
                    <a:pt x="8289035" y="3825240"/>
                  </a:lnTo>
                  <a:lnTo>
                    <a:pt x="8289035" y="0"/>
                  </a:lnTo>
                  <a:lnTo>
                    <a:pt x="0" y="0"/>
                  </a:lnTo>
                  <a:lnTo>
                    <a:pt x="0" y="382524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8630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509FA-DE6A-6A49-B523-CA773A9A00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DF07F2B-C9F0-4CDB-36DA-B0DA04EFD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F07F2B-C9F0-4CDB-36DA-B0DA04EFD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E128DF1-6F91-201A-87A9-6A9C5C5A5B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8D25EB1-8231-E355-A1B2-7E52AFC32D1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0FA4153-74F6-0BD7-A693-C9698E5DB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32E98AA-B2A2-D488-C41E-81C61A6804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2229FB0-AF43-CEF0-968A-B7F3151D3C6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BD24C3B-2FE9-5C49-7DD7-FF698CF060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E30E917-3CB0-8FEF-4AB2-6F0EA0F8B06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0903664-87A0-BBFA-25E1-EB0C6C5F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LinkedList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013000-7841-D6E3-B041-D8631947AE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55600" algn="l"/>
                <a:tab pos="1765300" algn="l"/>
              </a:tabLst>
            </a:pPr>
            <a:r>
              <a:rPr lang="en-US" sz="1600" b="1" spc="-10" dirty="0">
                <a:latin typeface="Arial"/>
                <a:cs typeface="Arial"/>
              </a:rPr>
              <a:t>LinkedList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,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ach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taining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 </a:t>
            </a:r>
            <a:r>
              <a:rPr lang="en-US" sz="1600" dirty="0">
                <a:latin typeface="Arial"/>
                <a:cs typeface="Arial"/>
              </a:rPr>
              <a:t>link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uccesso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metime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predecessor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ach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d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oint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ex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d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pointer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s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Queu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terface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e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n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nd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llection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o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aste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sertion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054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CA1DC-B246-403E-0F36-1C028A23A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9AA446-1EF7-CB10-BDE7-D8B33AFC14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9AA446-1EF7-CB10-BDE7-D8B33AFC14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A50908C-3070-C70F-D694-1F81BEB6B4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A700796-A00A-F1D4-18D4-4FA93FFD43DD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FACD8E1-377B-54D2-D094-300360DA49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FF7BDFF-5F70-EDF9-96BF-6D48121CBC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CD022C1-F5DA-A7EC-7878-DB41952EEA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0C135D9-7CBF-358A-F9AF-A617596C04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58FAB07-8E0A-B64F-656E-040CE1EEA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F8615C9-B7EF-391B-340D-095A07AE8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35" dirty="0"/>
              <a:t> </a:t>
            </a:r>
            <a:r>
              <a:rPr lang="en-US" sz="3200" dirty="0"/>
              <a:t>for</a:t>
            </a:r>
            <a:r>
              <a:rPr lang="en-US" sz="3200" spc="-5" dirty="0"/>
              <a:t> </a:t>
            </a:r>
            <a:r>
              <a:rPr lang="en-US" sz="3200" spc="-10" dirty="0"/>
              <a:t>LinkedList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6F5B74BA-0712-5F81-0FF6-6CF6F3039935}"/>
              </a:ext>
            </a:extLst>
          </p:cNvPr>
          <p:cNvGrpSpPr/>
          <p:nvPr/>
        </p:nvGrpSpPr>
        <p:grpSpPr>
          <a:xfrm>
            <a:off x="440841" y="1505864"/>
            <a:ext cx="5742940" cy="4049395"/>
            <a:chOff x="134112" y="1691639"/>
            <a:chExt cx="5742940" cy="404939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377B456B-1BD7-6EAD-3673-E2368B441CB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3256" y="1700783"/>
              <a:ext cx="5724144" cy="4030979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C1EFE484-15E8-EB40-B718-84A5369FAD2C}"/>
                </a:ext>
              </a:extLst>
            </p:cNvPr>
            <p:cNvSpPr/>
            <p:nvPr/>
          </p:nvSpPr>
          <p:spPr>
            <a:xfrm>
              <a:off x="138684" y="1696211"/>
              <a:ext cx="5733415" cy="4040504"/>
            </a:xfrm>
            <a:custGeom>
              <a:avLst/>
              <a:gdLst/>
              <a:ahLst/>
              <a:cxnLst/>
              <a:rect l="l" t="t" r="r" b="b"/>
              <a:pathLst>
                <a:path w="5733415" h="4040504">
                  <a:moveTo>
                    <a:pt x="0" y="4040124"/>
                  </a:moveTo>
                  <a:lnTo>
                    <a:pt x="5733288" y="4040124"/>
                  </a:lnTo>
                  <a:lnTo>
                    <a:pt x="5733288" y="0"/>
                  </a:lnTo>
                  <a:lnTo>
                    <a:pt x="0" y="0"/>
                  </a:lnTo>
                  <a:lnTo>
                    <a:pt x="0" y="404012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4289489B-558A-79C7-4734-F2BAC6FDF023}"/>
              </a:ext>
            </a:extLst>
          </p:cNvPr>
          <p:cNvGrpSpPr/>
          <p:nvPr/>
        </p:nvGrpSpPr>
        <p:grpSpPr>
          <a:xfrm>
            <a:off x="6015228" y="2869692"/>
            <a:ext cx="2827020" cy="1691639"/>
            <a:chOff x="6015228" y="2869692"/>
            <a:chExt cx="2827020" cy="1691639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F4F1DC2E-8971-1E6C-0854-34E4D2BB3BEF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024372" y="2878836"/>
              <a:ext cx="2808731" cy="1673352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00669054-3AC8-31F1-D740-CB57ED0821E5}"/>
                </a:ext>
              </a:extLst>
            </p:cNvPr>
            <p:cNvSpPr/>
            <p:nvPr/>
          </p:nvSpPr>
          <p:spPr>
            <a:xfrm>
              <a:off x="6019800" y="2874264"/>
              <a:ext cx="2818130" cy="1682750"/>
            </a:xfrm>
            <a:custGeom>
              <a:avLst/>
              <a:gdLst/>
              <a:ahLst/>
              <a:cxnLst/>
              <a:rect l="l" t="t" r="r" b="b"/>
              <a:pathLst>
                <a:path w="2818129" h="1682750">
                  <a:moveTo>
                    <a:pt x="0" y="1682495"/>
                  </a:moveTo>
                  <a:lnTo>
                    <a:pt x="2817876" y="1682495"/>
                  </a:lnTo>
                  <a:lnTo>
                    <a:pt x="2817876" y="0"/>
                  </a:lnTo>
                  <a:lnTo>
                    <a:pt x="0" y="0"/>
                  </a:lnTo>
                  <a:lnTo>
                    <a:pt x="0" y="168249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41294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3D050-12A2-3AB0-71E4-983B9EF723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6627C35-813B-3DAF-7AC1-CA10EB605C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27C35-813B-3DAF-7AC1-CA10EB605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C614ACB-B586-A788-588C-489D670E71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EAFA009-19D0-2A7E-1BA8-DABB8739011E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531BAF2-3C16-47AF-DE6E-D9D9E98FD4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5A6846C-C70D-E5C9-8E15-7FB6856048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31349184-71A7-F2EA-2131-2EAD3C561A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561396D-6F9A-EA53-C62E-9B79B5053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13CFACA-CC8C-546E-EB22-50AB1A153D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987F3E03-080A-EEC4-72F7-6E41806D0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25" dirty="0"/>
              <a:t>Set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6BE983-73A3-8239-EB6F-20EC368149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  <a:tab pos="692785" algn="l"/>
              </a:tabLst>
            </a:pPr>
            <a:r>
              <a:rPr lang="en-US" sz="1600" spc="-25">
                <a:latin typeface="Arial"/>
                <a:cs typeface="Arial"/>
              </a:rPr>
              <a:t>I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>
                <a:latin typeface="Arial"/>
                <a:cs typeface="Arial"/>
              </a:rPr>
              <a:t>a</a:t>
            </a:r>
            <a:r>
              <a:rPr lang="en-US" sz="1600" spc="-35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llec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ch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p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duplicat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Ha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oth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norder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orte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collection</a:t>
            </a:r>
            <a:endParaRPr lang="en-US" sz="1600" dirty="0">
              <a:latin typeface="Arial"/>
              <a:cs typeface="Arial"/>
            </a:endParaRPr>
          </a:p>
          <a:p>
            <a:pPr marL="355600" marR="739140" indent="-343535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dd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tronge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tract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 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 </a:t>
            </a:r>
            <a:r>
              <a:rPr lang="en-US" sz="1600" dirty="0" err="1">
                <a:latin typeface="Arial"/>
                <a:cs typeface="Arial"/>
              </a:rPr>
              <a:t>hashcod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quals method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i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stance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ared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aningfully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ven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f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heir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dirty="0">
                <a:latin typeface="Arial"/>
                <a:cs typeface="Arial"/>
              </a:rPr>
              <a:t>implementatio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ype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differ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600" b="1" dirty="0">
                <a:latin typeface="Arial"/>
                <a:cs typeface="Arial"/>
              </a:rPr>
              <a:t>Classes</a:t>
            </a:r>
            <a:r>
              <a:rPr lang="en-US" sz="1600" b="1" spc="-5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that</a:t>
            </a:r>
            <a:r>
              <a:rPr lang="en-US" sz="1600" b="1" spc="-5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implemen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spc="-25" dirty="0">
                <a:latin typeface="Arial"/>
                <a:cs typeface="Arial"/>
              </a:rPr>
              <a:t>Se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HashSe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LinkedHashSe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TreeSet</a:t>
            </a:r>
            <a:endParaRPr lang="en-US" sz="1600" spc="-1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23E248-6B52-8846-C2E8-4CA4F6D5BB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62603" y="3562892"/>
            <a:ext cx="4820323" cy="253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37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397FE-BF8C-FD32-4B0E-D078B6963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5939B8-0C70-3BE8-69E7-5F0259DF5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5939B8-0C70-3BE8-69E7-5F0259DF5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928CC98-6D33-EBAF-739F-556198991B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FE36243-D070-B916-2CE9-EFE1FFC10329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CAAE4255-1B8F-707F-3049-295A93A189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68EF4EF-F767-CCDE-681D-CA44704312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E21D8BFB-24B0-335E-D5B8-59757E12AF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F3F3FCD-453A-6333-5B7E-F60BE86F7C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E8A28DC-65D4-BCBF-01C7-9404DEC15A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359F042-3ED6-5585-22B8-ED7A0A9F6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br>
              <a:rPr lang="en-US" sz="2000" b="1" dirty="0">
                <a:latin typeface="Arial"/>
                <a:cs typeface="Arial"/>
              </a:rPr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E78249-3063-85C3-8B28-BB538DC261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381000"/>
            <a:ext cx="7834313" cy="5646453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b="1" dirty="0"/>
              <a:t>Why interfaces?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• Multiple classes can implement an interface to come under a common category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class Person implements Flyable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{ public void fly(){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print(“in planes”);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} 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class Plane implements Flyable{ public void fly(){ print(“using engines”); }</a:t>
            </a:r>
          </a:p>
          <a:p>
            <a:pPr marL="12700">
              <a:lnSpc>
                <a:spcPct val="100000"/>
              </a:lnSpc>
              <a:spcBef>
                <a:spcPts val="775"/>
              </a:spcBef>
              <a:buNone/>
              <a:tabLst>
                <a:tab pos="355600" algn="l"/>
              </a:tabLst>
            </a:pPr>
            <a:r>
              <a:rPr lang="en-US" sz="2400" dirty="0"/>
              <a:t> class Bird implements Flyable{ public void </a:t>
            </a:r>
            <a:r>
              <a:rPr lang="en-US" sz="2800" dirty="0"/>
              <a:t>fly(){ print(“using wings”); }</a:t>
            </a:r>
            <a:endParaRPr lang="en-US" sz="2000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995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6B3A12-BBB5-BAE3-420E-AA444CB62C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2E69328-AA71-8272-EA2F-68C6050194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E69328-AA71-8272-EA2F-68C605019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6CD9018-1FE4-ECE8-DF14-1B5208387B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01F753A-8E3A-D65D-7795-879C7487EFED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3689986-B91C-6CA5-BFF8-55EBEDB474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A6097C24-E4C2-F23A-AB65-91BCAD25F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467DD0A-1252-4DAF-CB96-257113A957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798A700-9855-B9DD-6249-E0B102B410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B182F85-F498-4634-DCA5-8A07947B2E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358CD85-32A1-6471-5727-189637DFD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HashSet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EA45AF8-195B-BCCB-1ADC-BB551BED29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5080" indent="-343535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dirty="0">
                <a:latin typeface="Arial"/>
                <a:cs typeface="Arial"/>
              </a:rPr>
              <a:t>HashSet</a:t>
            </a:r>
            <a:r>
              <a:rPr lang="en-US" sz="1600" b="1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cked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hash </a:t>
            </a:r>
            <a:r>
              <a:rPr lang="en-US" sz="1600" spc="-10" dirty="0">
                <a:latin typeface="Arial"/>
                <a:cs typeface="Arial"/>
              </a:rPr>
              <a:t>table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55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Make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uarantees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eratio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lements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ll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lement.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HashSe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ethod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synchronized</a:t>
            </a:r>
            <a:endParaRPr lang="en-US"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i="1" dirty="0">
                <a:latin typeface="Arial"/>
                <a:cs typeface="Arial"/>
              </a:rPr>
              <a:t>Unordered</a:t>
            </a:r>
            <a:r>
              <a:rPr lang="en-US" sz="1600" b="1" i="1" spc="-45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Collection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315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E7C899-4570-E1FB-AB44-C702D2B52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4105C75-EAF8-3E8C-5899-7FCF1269B0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105C75-EAF8-3E8C-5899-7FCF1269B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59AB806-331B-1675-04D4-47DA90B553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79E962B-D5F4-11CC-BF49-0944694F29E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45F2118-BD8A-F34D-7468-7B8406F97C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D068200-AC45-36AB-F16D-81E68896D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DF12698-41C3-3542-7F26-C4502468B6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6F57C16-A58D-9B51-AD73-03B079AB8C1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C520B9CB-E548-2FE4-5A26-0F6089FF615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8994826-BFD1-7FB5-F80E-CFB274C4F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35" dirty="0"/>
              <a:t> </a:t>
            </a:r>
            <a:r>
              <a:rPr lang="en-US" sz="3200" dirty="0"/>
              <a:t>for</a:t>
            </a:r>
            <a:r>
              <a:rPr lang="en-US" sz="3200" spc="-5" dirty="0"/>
              <a:t> </a:t>
            </a:r>
            <a:r>
              <a:rPr lang="en-US" sz="3200" spc="-10" dirty="0" err="1"/>
              <a:t>Hashset</a:t>
            </a:r>
            <a:r>
              <a:rPr lang="en-US" sz="3200" spc="-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20" name="object 3">
            <a:extLst>
              <a:ext uri="{FF2B5EF4-FFF2-40B4-BE49-F238E27FC236}">
                <a16:creationId xmlns:a16="http://schemas.microsoft.com/office/drawing/2014/main" id="{981AF7D6-0877-D2EF-2EBD-FD8C2970468E}"/>
              </a:ext>
            </a:extLst>
          </p:cNvPr>
          <p:cNvGrpSpPr/>
          <p:nvPr/>
        </p:nvGrpSpPr>
        <p:grpSpPr>
          <a:xfrm>
            <a:off x="242315" y="1691639"/>
            <a:ext cx="5922645" cy="3763010"/>
            <a:chOff x="242315" y="1691639"/>
            <a:chExt cx="5922645" cy="3763010"/>
          </a:xfrm>
        </p:grpSpPr>
        <p:pic>
          <p:nvPicPr>
            <p:cNvPr id="21" name="object 4">
              <a:extLst>
                <a:ext uri="{FF2B5EF4-FFF2-40B4-BE49-F238E27FC236}">
                  <a16:creationId xmlns:a16="http://schemas.microsoft.com/office/drawing/2014/main" id="{CD4A33FB-3CA3-2F0C-EB6C-2372030F40C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51459" y="1700783"/>
              <a:ext cx="5903976" cy="3744467"/>
            </a:xfrm>
            <a:prstGeom prst="rect">
              <a:avLst/>
            </a:prstGeom>
          </p:spPr>
        </p:pic>
        <p:sp>
          <p:nvSpPr>
            <p:cNvPr id="22" name="object 5">
              <a:extLst>
                <a:ext uri="{FF2B5EF4-FFF2-40B4-BE49-F238E27FC236}">
                  <a16:creationId xmlns:a16="http://schemas.microsoft.com/office/drawing/2014/main" id="{D467BE8B-8370-60AD-E82B-4D489F2B2035}"/>
                </a:ext>
              </a:extLst>
            </p:cNvPr>
            <p:cNvSpPr/>
            <p:nvPr/>
          </p:nvSpPr>
          <p:spPr>
            <a:xfrm>
              <a:off x="246887" y="1696211"/>
              <a:ext cx="5913120" cy="3754120"/>
            </a:xfrm>
            <a:custGeom>
              <a:avLst/>
              <a:gdLst/>
              <a:ahLst/>
              <a:cxnLst/>
              <a:rect l="l" t="t" r="r" b="b"/>
              <a:pathLst>
                <a:path w="5913120" h="3754120">
                  <a:moveTo>
                    <a:pt x="0" y="3753612"/>
                  </a:moveTo>
                  <a:lnTo>
                    <a:pt x="5913120" y="3753612"/>
                  </a:lnTo>
                  <a:lnTo>
                    <a:pt x="5913120" y="0"/>
                  </a:lnTo>
                  <a:lnTo>
                    <a:pt x="0" y="0"/>
                  </a:lnTo>
                  <a:lnTo>
                    <a:pt x="0" y="375361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" name="object 6">
            <a:extLst>
              <a:ext uri="{FF2B5EF4-FFF2-40B4-BE49-F238E27FC236}">
                <a16:creationId xmlns:a16="http://schemas.microsoft.com/office/drawing/2014/main" id="{43B80EAC-65B5-E45C-2A0E-BF9649D680B7}"/>
              </a:ext>
            </a:extLst>
          </p:cNvPr>
          <p:cNvGrpSpPr/>
          <p:nvPr/>
        </p:nvGrpSpPr>
        <p:grpSpPr>
          <a:xfrm>
            <a:off x="6124258" y="2450111"/>
            <a:ext cx="2548255" cy="1531620"/>
            <a:chOff x="6345935" y="2365248"/>
            <a:chExt cx="2548255" cy="1531620"/>
          </a:xfrm>
        </p:grpSpPr>
        <p:pic>
          <p:nvPicPr>
            <p:cNvPr id="24" name="object 7">
              <a:extLst>
                <a:ext uri="{FF2B5EF4-FFF2-40B4-BE49-F238E27FC236}">
                  <a16:creationId xmlns:a16="http://schemas.microsoft.com/office/drawing/2014/main" id="{38AFB697-0EE7-E436-8E72-08A09B9492F8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355079" y="2374392"/>
              <a:ext cx="2529839" cy="1513331"/>
            </a:xfrm>
            <a:prstGeom prst="rect">
              <a:avLst/>
            </a:prstGeom>
          </p:spPr>
        </p:pic>
        <p:sp>
          <p:nvSpPr>
            <p:cNvPr id="25" name="object 8">
              <a:extLst>
                <a:ext uri="{FF2B5EF4-FFF2-40B4-BE49-F238E27FC236}">
                  <a16:creationId xmlns:a16="http://schemas.microsoft.com/office/drawing/2014/main" id="{EA9E121E-2545-C115-F5D7-7CF22249A062}"/>
                </a:ext>
              </a:extLst>
            </p:cNvPr>
            <p:cNvSpPr/>
            <p:nvPr/>
          </p:nvSpPr>
          <p:spPr>
            <a:xfrm>
              <a:off x="6350507" y="2369820"/>
              <a:ext cx="2539365" cy="1522730"/>
            </a:xfrm>
            <a:custGeom>
              <a:avLst/>
              <a:gdLst/>
              <a:ahLst/>
              <a:cxnLst/>
              <a:rect l="l" t="t" r="r" b="b"/>
              <a:pathLst>
                <a:path w="2539365" h="1522729">
                  <a:moveTo>
                    <a:pt x="0" y="1522475"/>
                  </a:moveTo>
                  <a:lnTo>
                    <a:pt x="2538984" y="1522475"/>
                  </a:lnTo>
                  <a:lnTo>
                    <a:pt x="2538984" y="0"/>
                  </a:lnTo>
                  <a:lnTo>
                    <a:pt x="0" y="0"/>
                  </a:lnTo>
                  <a:lnTo>
                    <a:pt x="0" y="152247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3934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2FBB81-BF03-8E53-2364-3551D54B60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87593E8-B7E1-5F20-E8B9-CF5EE83EC9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593E8-B7E1-5F20-E8B9-CF5EE83EC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3C1B09B-9F31-BD3C-D250-F8D778620F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79038A6-093E-78EF-9815-40FB7C755E31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DA58B16-2D47-0354-CE79-E5183FFE14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B099990-53A0-6897-AE60-A55D449937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09D86BA-840E-150F-6DE8-43D4F64DF3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486E5680-EE81-46AA-1805-B3EA6A7D5FB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CFE8D10-3C7F-4F61-1AB3-BCAAF012A0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9DD2E89-D272-5FD7-33F9-6AC01894D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 err="1"/>
              <a:t>LinkedHashSet</a:t>
            </a:r>
            <a:r>
              <a:rPr lang="en-US" sz="3200" spc="-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7B3E36-BE77-0ACF-A334-9B3BF1A4C1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marR="257810" indent="-343535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dirty="0" err="1">
                <a:latin typeface="Arial"/>
                <a:cs typeface="Arial"/>
              </a:rPr>
              <a:t>LinkedHashSet</a:t>
            </a:r>
            <a:r>
              <a:rPr lang="en-US" sz="1600" b="1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erface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ck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 </a:t>
            </a:r>
            <a:r>
              <a:rPr lang="en-US" sz="1600" dirty="0">
                <a:latin typeface="Arial"/>
                <a:cs typeface="Arial"/>
              </a:rPr>
              <a:t>hash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table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sh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abl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ith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nked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is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unning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rough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Order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ase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ch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er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serted </a:t>
            </a:r>
            <a:r>
              <a:rPr lang="en-US" sz="1600" dirty="0">
                <a:latin typeface="Arial"/>
                <a:cs typeface="Arial"/>
              </a:rPr>
              <a:t>in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(insertion-</a:t>
            </a:r>
            <a:r>
              <a:rPr lang="en-US" sz="1600" spc="-10" dirty="0">
                <a:latin typeface="Arial"/>
                <a:cs typeface="Arial"/>
              </a:rPr>
              <a:t>order)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5600" algn="l"/>
              </a:tabLst>
            </a:pPr>
            <a:r>
              <a:rPr lang="en-US" sz="1600" b="1" i="1" dirty="0">
                <a:latin typeface="Arial"/>
                <a:cs typeface="Arial"/>
              </a:rPr>
              <a:t>Ordered</a:t>
            </a:r>
            <a:r>
              <a:rPr lang="en-US" sz="1600" b="1" i="1" spc="-40" dirty="0">
                <a:latin typeface="Arial"/>
                <a:cs typeface="Arial"/>
              </a:rPr>
              <a:t> </a:t>
            </a:r>
            <a:r>
              <a:rPr lang="en-US" sz="1600" b="1" i="1" dirty="0">
                <a:latin typeface="Arial"/>
                <a:cs typeface="Arial"/>
              </a:rPr>
              <a:t>by</a:t>
            </a:r>
            <a:r>
              <a:rPr lang="en-US" sz="1600" b="1" i="1" spc="-20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insertion</a:t>
            </a:r>
          </a:p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5600" algn="l"/>
              </a:tabLst>
            </a:pPr>
            <a:endParaRPr lang="en-US" sz="1600" b="1" i="1" spc="-1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69BBF9C-9A5E-B4CF-7F9F-04C6D9F90CAA}"/>
              </a:ext>
            </a:extLst>
          </p:cNvPr>
          <p:cNvGrpSpPr/>
          <p:nvPr/>
        </p:nvGrpSpPr>
        <p:grpSpPr>
          <a:xfrm>
            <a:off x="471487" y="2760480"/>
            <a:ext cx="5417820" cy="3474720"/>
            <a:chOff x="458723" y="1691639"/>
            <a:chExt cx="5417820" cy="347472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4CD8EB9C-14D0-E365-FEBC-77BCF7C5E12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7867" y="1700783"/>
              <a:ext cx="5399532" cy="3456432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9243A194-A2F6-69C6-63C8-61D0BCABC346}"/>
                </a:ext>
              </a:extLst>
            </p:cNvPr>
            <p:cNvSpPr/>
            <p:nvPr/>
          </p:nvSpPr>
          <p:spPr>
            <a:xfrm>
              <a:off x="463295" y="1696211"/>
              <a:ext cx="5408930" cy="3465829"/>
            </a:xfrm>
            <a:custGeom>
              <a:avLst/>
              <a:gdLst/>
              <a:ahLst/>
              <a:cxnLst/>
              <a:rect l="l" t="t" r="r" b="b"/>
              <a:pathLst>
                <a:path w="5408930" h="3465829">
                  <a:moveTo>
                    <a:pt x="0" y="3465576"/>
                  </a:moveTo>
                  <a:lnTo>
                    <a:pt x="5408676" y="3465576"/>
                  </a:lnTo>
                  <a:lnTo>
                    <a:pt x="5408676" y="0"/>
                  </a:lnTo>
                  <a:lnTo>
                    <a:pt x="0" y="0"/>
                  </a:lnTo>
                  <a:lnTo>
                    <a:pt x="0" y="346557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BE7ACD42-D716-67A3-94A1-F5F714ABE9A6}"/>
              </a:ext>
            </a:extLst>
          </p:cNvPr>
          <p:cNvGrpSpPr/>
          <p:nvPr/>
        </p:nvGrpSpPr>
        <p:grpSpPr>
          <a:xfrm>
            <a:off x="5877001" y="3429000"/>
            <a:ext cx="2685415" cy="1685925"/>
            <a:chOff x="6010655" y="2607564"/>
            <a:chExt cx="2685415" cy="1685925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5E7420FA-39FB-A60C-D64D-D141425959A4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019799" y="2616708"/>
              <a:ext cx="2667000" cy="1667256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80D04D56-ED22-62E6-4D84-4717359AC1E5}"/>
                </a:ext>
              </a:extLst>
            </p:cNvPr>
            <p:cNvSpPr/>
            <p:nvPr/>
          </p:nvSpPr>
          <p:spPr>
            <a:xfrm>
              <a:off x="6015227" y="2612136"/>
              <a:ext cx="2676525" cy="1676400"/>
            </a:xfrm>
            <a:custGeom>
              <a:avLst/>
              <a:gdLst/>
              <a:ahLst/>
              <a:cxnLst/>
              <a:rect l="l" t="t" r="r" b="b"/>
              <a:pathLst>
                <a:path w="2676525" h="1676400">
                  <a:moveTo>
                    <a:pt x="0" y="1676400"/>
                  </a:moveTo>
                  <a:lnTo>
                    <a:pt x="2676144" y="1676400"/>
                  </a:lnTo>
                  <a:lnTo>
                    <a:pt x="2676144" y="0"/>
                  </a:lnTo>
                  <a:lnTo>
                    <a:pt x="0" y="0"/>
                  </a:lnTo>
                  <a:lnTo>
                    <a:pt x="0" y="167640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9824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98974D-EE91-02A8-0A70-282CBFAD10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FAFF651-1712-FAEF-15B3-D140B50474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AFF651-1712-FAEF-15B3-D140B50474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C54242A4-8D01-74F9-FCF6-B392CEA490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E54E13C2-BA84-C56E-0BAB-0E09F6CDED6B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D37E51E2-8532-AA61-C308-315B1FB0B9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52367D0-D632-F0A4-5380-F6F0F0EA368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5629BBBA-8565-5163-B73A-F3FEC7ECF8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7A8523E-14E2-8497-E888-84793F97183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ED8AABD-E954-72F6-3F25-04DF1D6DDFE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5E964D79-2D4F-BDC4-713A-BA1BC3388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1"/>
            <a:ext cx="8200013" cy="520200"/>
          </a:xfrm>
        </p:spPr>
        <p:txBody>
          <a:bodyPr/>
          <a:lstStyle/>
          <a:p>
            <a:r>
              <a:rPr lang="en-US" sz="3200" spc="-20" dirty="0" err="1"/>
              <a:t>TreeSet</a:t>
            </a:r>
            <a:r>
              <a:rPr lang="en-US" sz="3200" spc="-2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C85176-7795-7CD3-1661-00031B2DA6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251485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spc="-10" dirty="0" err="1">
                <a:latin typeface="Arial"/>
                <a:cs typeface="Arial"/>
              </a:rPr>
              <a:t>TreeSe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lass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mplement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b="1" dirty="0" err="1">
                <a:latin typeface="Arial"/>
                <a:cs typeface="Arial"/>
              </a:rPr>
              <a:t>SortedSe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terface</a:t>
            </a:r>
            <a:endParaRPr lang="en-US" sz="1600" dirty="0">
              <a:latin typeface="Arial"/>
              <a:cs typeface="Arial"/>
            </a:endParaRPr>
          </a:p>
          <a:p>
            <a:pPr marL="355600" marR="215900" indent="-343535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ed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ing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ir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atural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dering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50" dirty="0">
                <a:latin typeface="Arial"/>
                <a:cs typeface="Arial"/>
              </a:rPr>
              <a:t>a </a:t>
            </a:r>
            <a:r>
              <a:rPr lang="en-US" sz="1600" dirty="0">
                <a:latin typeface="Arial"/>
                <a:cs typeface="Arial"/>
              </a:rPr>
              <a:t>Comparator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rovided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y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e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ur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reation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tim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lowe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HashSet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low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ll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(throws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10" dirty="0" err="1">
                <a:latin typeface="Arial"/>
                <a:cs typeface="Arial"/>
              </a:rPr>
              <a:t>NullPointerException</a:t>
            </a:r>
            <a:r>
              <a:rPr lang="en-US" sz="1600" spc="-1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355600" marR="1178560" indent="-343535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llow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n-compatible</a:t>
            </a:r>
            <a:r>
              <a:rPr lang="en-US" sz="1600" spc="-8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elements(throws </a:t>
            </a:r>
            <a:r>
              <a:rPr lang="en-US" sz="1600" spc="-10" dirty="0" err="1">
                <a:latin typeface="Arial"/>
                <a:cs typeface="Arial"/>
              </a:rPr>
              <a:t>ClassCastException</a:t>
            </a:r>
            <a:r>
              <a:rPr lang="en-US" sz="1600" spc="-10" dirty="0">
                <a:latin typeface="Arial"/>
                <a:cs typeface="Arial"/>
              </a:rPr>
              <a:t>)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Font typeface="Arial"/>
              <a:buChar char="•"/>
              <a:tabLst>
                <a:tab pos="355600" algn="l"/>
              </a:tabLst>
            </a:pPr>
            <a:r>
              <a:rPr lang="en-US" sz="1600" b="1" i="1" dirty="0">
                <a:latin typeface="Arial"/>
                <a:cs typeface="Arial"/>
              </a:rPr>
              <a:t>Sorted</a:t>
            </a:r>
            <a:r>
              <a:rPr lang="en-US" sz="1600" b="1" i="1" spc="-25" dirty="0">
                <a:latin typeface="Arial"/>
                <a:cs typeface="Arial"/>
              </a:rPr>
              <a:t> </a:t>
            </a:r>
            <a:r>
              <a:rPr lang="en-US" sz="1600" b="1" i="1" spc="-10" dirty="0">
                <a:latin typeface="Arial"/>
                <a:cs typeface="Arial"/>
              </a:rPr>
              <a:t>Collection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Font typeface="Arial"/>
              <a:buChar char="•"/>
              <a:tabLst>
                <a:tab pos="355600" algn="l"/>
              </a:tabLst>
            </a:pPr>
            <a:endParaRPr lang="en-US" sz="1600" b="1" i="1" spc="-1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Font typeface="Arial"/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1B9A6490-0584-604B-8717-35923AC01D94}"/>
              </a:ext>
            </a:extLst>
          </p:cNvPr>
          <p:cNvGrpSpPr/>
          <p:nvPr/>
        </p:nvGrpSpPr>
        <p:grpSpPr>
          <a:xfrm>
            <a:off x="1182815" y="3246121"/>
            <a:ext cx="5058410" cy="3611879"/>
            <a:chOff x="387095" y="1620011"/>
            <a:chExt cx="5058410" cy="3611879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25923084-A334-09E4-1CD0-559D5154A34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96239" y="1629155"/>
              <a:ext cx="5039868" cy="3593591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7D9BDC53-EBF5-0A86-D2CE-8219165B1271}"/>
                </a:ext>
              </a:extLst>
            </p:cNvPr>
            <p:cNvSpPr/>
            <p:nvPr/>
          </p:nvSpPr>
          <p:spPr>
            <a:xfrm>
              <a:off x="391667" y="1624583"/>
              <a:ext cx="5049520" cy="3602990"/>
            </a:xfrm>
            <a:custGeom>
              <a:avLst/>
              <a:gdLst/>
              <a:ahLst/>
              <a:cxnLst/>
              <a:rect l="l" t="t" r="r" b="b"/>
              <a:pathLst>
                <a:path w="5049520" h="3602990">
                  <a:moveTo>
                    <a:pt x="0" y="3602736"/>
                  </a:moveTo>
                  <a:lnTo>
                    <a:pt x="5049012" y="3602736"/>
                  </a:lnTo>
                  <a:lnTo>
                    <a:pt x="5049012" y="0"/>
                  </a:lnTo>
                  <a:lnTo>
                    <a:pt x="0" y="0"/>
                  </a:lnTo>
                  <a:lnTo>
                    <a:pt x="0" y="360273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6">
            <a:extLst>
              <a:ext uri="{FF2B5EF4-FFF2-40B4-BE49-F238E27FC236}">
                <a16:creationId xmlns:a16="http://schemas.microsoft.com/office/drawing/2014/main" id="{FDFB0B9E-265B-ABF0-445E-B108970DC8FB}"/>
              </a:ext>
            </a:extLst>
          </p:cNvPr>
          <p:cNvGrpSpPr/>
          <p:nvPr/>
        </p:nvGrpSpPr>
        <p:grpSpPr>
          <a:xfrm>
            <a:off x="6254243" y="3617169"/>
            <a:ext cx="2825750" cy="1685925"/>
            <a:chOff x="5852159" y="2583179"/>
            <a:chExt cx="2825750" cy="1685925"/>
          </a:xfrm>
        </p:grpSpPr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502D3BEE-A729-479B-C16D-43BBC70904C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861303" y="2592323"/>
              <a:ext cx="2807207" cy="1667256"/>
            </a:xfrm>
            <a:prstGeom prst="rect">
              <a:avLst/>
            </a:prstGeom>
          </p:spPr>
        </p:pic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914AD744-1904-8F9A-1489-D608B351C3D7}"/>
                </a:ext>
              </a:extLst>
            </p:cNvPr>
            <p:cNvSpPr/>
            <p:nvPr/>
          </p:nvSpPr>
          <p:spPr>
            <a:xfrm>
              <a:off x="5856731" y="2587751"/>
              <a:ext cx="2816860" cy="1676400"/>
            </a:xfrm>
            <a:custGeom>
              <a:avLst/>
              <a:gdLst/>
              <a:ahLst/>
              <a:cxnLst/>
              <a:rect l="l" t="t" r="r" b="b"/>
              <a:pathLst>
                <a:path w="2816859" h="1676400">
                  <a:moveTo>
                    <a:pt x="0" y="1676400"/>
                  </a:moveTo>
                  <a:lnTo>
                    <a:pt x="2816352" y="1676400"/>
                  </a:lnTo>
                  <a:lnTo>
                    <a:pt x="2816352" y="0"/>
                  </a:lnTo>
                  <a:lnTo>
                    <a:pt x="0" y="0"/>
                  </a:lnTo>
                  <a:lnTo>
                    <a:pt x="0" y="1676400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75348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7C9DC-A638-39EE-C290-EA21CEF7E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AA65187-F2E5-10E8-6532-4E06BCD4F2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A65187-F2E5-10E8-6532-4E06BCD4F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15FD05-BD14-911D-55E2-5BF4D30F5E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D0EB099-E251-6284-4A58-A68067B82F9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A545729-FE4C-D609-6876-BF0133EA3E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D2407F4-2C02-2969-08EF-4369E1FE9C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3595E32C-564A-CE09-2D13-FA71142A52A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575B925-52BC-3373-8E84-23CECD6D84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7454B6F-8D7F-2A87-2540-372A0366BC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D53592DC-7C73-576A-E82D-4A47EAF6C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25" dirty="0"/>
              <a:t>Map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B82507-3897-1133-4609-A07A1DE3D7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3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Store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sociation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p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twee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"keys“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&amp;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"values"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bjec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key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lues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not</a:t>
            </a:r>
            <a:r>
              <a:rPr lang="en-US" sz="1600" spc="-7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tain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uplicate</a:t>
            </a:r>
            <a:r>
              <a:rPr lang="en-US" sz="1600" spc="-65" dirty="0">
                <a:latin typeface="Arial"/>
                <a:cs typeface="Arial"/>
              </a:rPr>
              <a:t> </a:t>
            </a:r>
            <a:r>
              <a:rPr lang="en-US" sz="1600" spc="-20" dirty="0">
                <a:latin typeface="Arial"/>
                <a:cs typeface="Arial"/>
              </a:rPr>
              <a:t>key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Each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key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os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lue.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lang="en-US" sz="1600" b="1" dirty="0">
                <a:latin typeface="Arial"/>
                <a:cs typeface="Arial"/>
              </a:rPr>
              <a:t>Classes</a:t>
            </a:r>
            <a:r>
              <a:rPr lang="en-US" sz="1600" b="1" spc="-55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that</a:t>
            </a:r>
            <a:r>
              <a:rPr lang="en-US" sz="1600" b="1" spc="-50" dirty="0">
                <a:latin typeface="Arial"/>
                <a:cs typeface="Arial"/>
              </a:rPr>
              <a:t> </a:t>
            </a:r>
            <a:r>
              <a:rPr lang="en-US" sz="1600" b="1" dirty="0">
                <a:latin typeface="Arial"/>
                <a:cs typeface="Arial"/>
              </a:rPr>
              <a:t>implement</a:t>
            </a:r>
            <a:r>
              <a:rPr lang="en-US" sz="1600" b="1" spc="-45" dirty="0">
                <a:latin typeface="Arial"/>
                <a:cs typeface="Arial"/>
              </a:rPr>
              <a:t> </a:t>
            </a:r>
            <a:r>
              <a:rPr lang="en-US" sz="1600" b="1" spc="-25" dirty="0">
                <a:latin typeface="Arial"/>
                <a:cs typeface="Arial"/>
              </a:rPr>
              <a:t>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har char="•"/>
              <a:tabLst>
                <a:tab pos="355600" algn="l"/>
              </a:tabLst>
            </a:pPr>
            <a:r>
              <a:rPr lang="en-US" sz="1600" spc="-10" dirty="0">
                <a:latin typeface="Arial"/>
                <a:cs typeface="Arial"/>
              </a:rPr>
              <a:t>Hash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LinkedHash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5"/>
              </a:spcBef>
              <a:buChar char="•"/>
              <a:tabLst>
                <a:tab pos="355600" algn="l"/>
              </a:tabLst>
            </a:pPr>
            <a:r>
              <a:rPr lang="en-US" sz="1600" spc="-10" dirty="0" err="1">
                <a:latin typeface="Arial"/>
                <a:cs typeface="Arial"/>
              </a:rPr>
              <a:t>TreeMap</a:t>
            </a:r>
            <a:endParaRPr lang="en-US" sz="1600" dirty="0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1F4EB-B590-E13E-FDD9-1FC23D4374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12679" y="3524787"/>
            <a:ext cx="5849166" cy="257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67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BDB77-301A-56C1-33F2-B4248CB87D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51415B-B02D-6CF8-52FB-DEEA93AFEB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51415B-B02D-6CF8-52FB-DEEA93AFE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B0B09E8-B4E7-5E18-DE3E-10C8A4DAFF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0A66F74-56A6-2CD8-8678-174FB433E0C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D01E01B4-FF69-C16C-710D-732BCEFB3F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1D81C5A8-D649-363D-C7CD-E2A082FC15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A1D4305-FE83-0320-6D18-947DDFF2D7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77BD019-3084-CAC0-EE35-25644C858D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8F61A77-C866-7C3D-97FC-5F44146FD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F1FF68B-4A0C-7946-868C-FB732B2D8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 dirty="0"/>
              <a:t>HashMap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7E6EB9-B1AF-7A7C-F091-6A05E3E2B4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0245" y="1182856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ata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tructure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key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lu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Use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sh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unction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mput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index</a:t>
            </a:r>
            <a:r>
              <a:rPr lang="en-US" sz="1600" i="1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to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ray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i="1" spc="-10" dirty="0">
                <a:latin typeface="Arial"/>
                <a:cs typeface="Arial"/>
              </a:rPr>
              <a:t>buckets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dirty="0">
                <a:latin typeface="Arial"/>
                <a:cs typeface="Arial"/>
              </a:rPr>
              <a:t>or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i="1" dirty="0">
                <a:latin typeface="Arial"/>
                <a:cs typeface="Arial"/>
              </a:rPr>
              <a:t>slots</a:t>
            </a:r>
            <a:r>
              <a:rPr lang="en-US" sz="1600" dirty="0">
                <a:latin typeface="Arial"/>
                <a:cs typeface="Arial"/>
              </a:rPr>
              <a:t>,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ch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rrect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value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found.</a:t>
            </a:r>
            <a:endParaRPr lang="en-US" sz="1600" dirty="0">
              <a:latin typeface="Arial"/>
              <a:cs typeface="Arial"/>
            </a:endParaRPr>
          </a:p>
          <a:p>
            <a:pPr marL="355600" marR="5080" indent="-343535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lement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re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dd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er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 err="1">
                <a:latin typeface="Arial"/>
                <a:cs typeface="Arial"/>
              </a:rPr>
              <a:t>hashcode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value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of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keys.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ccep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e</a:t>
            </a:r>
            <a:r>
              <a:rPr lang="en-US" sz="1600" spc="-5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ll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key</a:t>
            </a: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spc="-25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har char="•"/>
              <a:tabLst>
                <a:tab pos="355600" algn="l"/>
              </a:tabLst>
            </a:pPr>
            <a:endParaRPr lang="en-US" sz="1600" dirty="0">
              <a:latin typeface="Arial"/>
              <a:cs typeface="Arial"/>
            </a:endParaRPr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3D63E507-5F76-7577-165D-6342CA14D8E0}"/>
              </a:ext>
            </a:extLst>
          </p:cNvPr>
          <p:cNvGrpSpPr/>
          <p:nvPr/>
        </p:nvGrpSpPr>
        <p:grpSpPr>
          <a:xfrm>
            <a:off x="1066162" y="2387182"/>
            <a:ext cx="6363338" cy="4114800"/>
            <a:chOff x="818388" y="1828800"/>
            <a:chExt cx="6859905" cy="4057015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A2765CBE-6A0F-A95F-032A-9B5576AD9DF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27532" y="1837943"/>
              <a:ext cx="6841235" cy="4038600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7EEBDCAA-4D73-CF5D-1870-9696B4D5E621}"/>
                </a:ext>
              </a:extLst>
            </p:cNvPr>
            <p:cNvSpPr/>
            <p:nvPr/>
          </p:nvSpPr>
          <p:spPr>
            <a:xfrm>
              <a:off x="822960" y="1833372"/>
              <a:ext cx="6850380" cy="4048125"/>
            </a:xfrm>
            <a:custGeom>
              <a:avLst/>
              <a:gdLst/>
              <a:ahLst/>
              <a:cxnLst/>
              <a:rect l="l" t="t" r="r" b="b"/>
              <a:pathLst>
                <a:path w="6850380" h="4048125">
                  <a:moveTo>
                    <a:pt x="0" y="4047744"/>
                  </a:moveTo>
                  <a:lnTo>
                    <a:pt x="6850380" y="4047744"/>
                  </a:lnTo>
                  <a:lnTo>
                    <a:pt x="6850380" y="0"/>
                  </a:lnTo>
                  <a:lnTo>
                    <a:pt x="0" y="0"/>
                  </a:lnTo>
                  <a:lnTo>
                    <a:pt x="0" y="404774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0940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96A9BA-C6A8-353F-D0DD-19C6459A1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541E5FC-77F0-B24F-BBCC-B89A86C655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41E5FC-77F0-B24F-BBCC-B89A86C65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9C916115-08A6-08A4-DF18-E33886029F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4E7981C-0CF9-3693-5486-D796F06B3EBF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FCE67D1-C94E-F905-15FD-2248CBE2D3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A19193A-4301-8055-2352-2C84F424C7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30001C0-50A7-4899-428C-F3DC8D15EF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EE7C4E3-B6A5-65A2-CCB7-322C572B0E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AF3CBBA-0843-2B1C-4AE1-54F290C14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9AE9FCA-2453-8A14-F162-0EE59D8C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10" dirty="0" err="1"/>
              <a:t>ConcurrentMap</a:t>
            </a:r>
            <a:r>
              <a:rPr lang="en-US" sz="3200" spc="-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EE9EDC-FFFB-3346-D7BD-61473E3087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Ca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use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safely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n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current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ultithreading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application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apabl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handling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concurrent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s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(puts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gets)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.</a:t>
            </a:r>
            <a:endParaRPr lang="en-US" sz="1600" dirty="0">
              <a:latin typeface="Arial"/>
              <a:cs typeface="Arial"/>
            </a:endParaRPr>
          </a:p>
          <a:p>
            <a:pPr marL="355600" marR="343535" indent="-343535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ock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ile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read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from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,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ocks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ly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ar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it </a:t>
            </a:r>
            <a:r>
              <a:rPr lang="en-US" sz="1600" dirty="0">
                <a:latin typeface="Arial"/>
                <a:cs typeface="Arial"/>
              </a:rPr>
              <a:t>during</a:t>
            </a:r>
            <a:r>
              <a:rPr lang="en-US" sz="1600" spc="-6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updates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ock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entire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hen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riting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,</a:t>
            </a:r>
            <a:r>
              <a:rPr lang="en-US" sz="1600" spc="-2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locks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nly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part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of</a:t>
            </a:r>
            <a:endParaRPr lang="en-US" sz="1600" dirty="0">
              <a:latin typeface="Arial"/>
              <a:cs typeface="Arial"/>
            </a:endParaRPr>
          </a:p>
          <a:p>
            <a:pPr marL="355600">
              <a:lnSpc>
                <a:spcPct val="100000"/>
              </a:lnSpc>
            </a:pP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t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at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being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written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,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nternally.</a:t>
            </a: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en-US" sz="1600" spc="-10" dirty="0" err="1">
                <a:latin typeface="Arial"/>
                <a:cs typeface="Arial"/>
              </a:rPr>
              <a:t>ConcurrentHash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  <a:tab pos="1102995" algn="l"/>
              </a:tabLst>
            </a:pPr>
            <a:r>
              <a:rPr lang="en-US" sz="1600" dirty="0">
                <a:latin typeface="Arial"/>
                <a:cs typeface="Arial"/>
              </a:rPr>
              <a:t>is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25" dirty="0">
                <a:latin typeface="Arial"/>
                <a:cs typeface="Arial"/>
              </a:rPr>
              <a:t>the</a:t>
            </a:r>
            <a:r>
              <a:rPr lang="en-US" sz="1600" dirty="0">
                <a:latin typeface="Arial"/>
                <a:cs typeface="Arial"/>
              </a:rPr>
              <a:t>	implementation</a:t>
            </a:r>
            <a:r>
              <a:rPr lang="en-US" sz="1600" spc="-7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of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spc="-10" dirty="0" err="1">
                <a:latin typeface="Arial"/>
                <a:cs typeface="Arial"/>
              </a:rPr>
              <a:t>ConcurrentMap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Does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ot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ccept</a:t>
            </a:r>
            <a:r>
              <a:rPr lang="en-US" sz="1600" spc="-5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ll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key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and</a:t>
            </a:r>
            <a:r>
              <a:rPr lang="en-US" sz="1600" spc="-3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null</a:t>
            </a:r>
            <a:r>
              <a:rPr lang="en-US" sz="1600" spc="-15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value</a:t>
            </a:r>
            <a:endParaRPr lang="en-US"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1600" dirty="0">
                <a:latin typeface="Arial"/>
                <a:cs typeface="Arial"/>
              </a:rPr>
              <a:t>Allows</a:t>
            </a:r>
            <a:r>
              <a:rPr lang="en-US" sz="1600" spc="-2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o</a:t>
            </a:r>
            <a:r>
              <a:rPr lang="en-US" sz="1600" spc="-3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odify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the</a:t>
            </a:r>
            <a:r>
              <a:rPr lang="en-US" sz="1600" spc="-45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map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dirty="0">
                <a:latin typeface="Arial"/>
                <a:cs typeface="Arial"/>
              </a:rPr>
              <a:t>during</a:t>
            </a:r>
            <a:r>
              <a:rPr lang="en-US" sz="1600" spc="-40" dirty="0">
                <a:latin typeface="Arial"/>
                <a:cs typeface="Arial"/>
              </a:rPr>
              <a:t> </a:t>
            </a:r>
            <a:r>
              <a:rPr lang="en-US" sz="1600" spc="-10" dirty="0">
                <a:latin typeface="Arial"/>
                <a:cs typeface="Arial"/>
              </a:rPr>
              <a:t>iteration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021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C2780D-7065-6212-6000-22A7D18AE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E7E2F63-EDDF-6E26-7DAF-070EACD9D6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E2F63-EDDF-6E26-7DAF-070EACD9D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189BCD5-82FD-A6D2-3FFB-CB55C9D100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768011B-1115-B39C-8182-C442722BD11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11745EB-400E-55B0-6B45-AB2680D49E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11691CA-4BBA-A0DF-CD5B-37CF03AF0D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8AEC165-E225-0DEF-1D41-88B2AD39D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546A53E-9824-57C3-D0CC-5A754EEF50A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E3A84F44-3AAF-58D1-5DCA-94601866C9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9C7B8B48-A741-12E8-041E-C833E71D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886397"/>
          </a:xfrm>
        </p:spPr>
        <p:txBody>
          <a:bodyPr/>
          <a:lstStyle/>
          <a:p>
            <a:r>
              <a:rPr lang="en-US" sz="4400" spc="-10" dirty="0"/>
              <a:t>Comparable</a:t>
            </a:r>
            <a:r>
              <a:rPr lang="en-US" sz="3200" spc="-10" dirty="0"/>
              <a:t>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87DBE6-B996-4036-96E4-9A18DB06B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580"/>
              </a:spcBef>
              <a:buChar char="•"/>
              <a:tabLst>
                <a:tab pos="355600" algn="l"/>
              </a:tabLst>
            </a:pPr>
            <a:r>
              <a:rPr lang="en-US" sz="2400" dirty="0"/>
              <a:t>Is</a:t>
            </a:r>
            <a:r>
              <a:rPr lang="en-US" sz="2400" spc="-30" dirty="0"/>
              <a:t> </a:t>
            </a:r>
            <a:r>
              <a:rPr lang="en-US" sz="2400" dirty="0"/>
              <a:t>an</a:t>
            </a:r>
            <a:r>
              <a:rPr lang="en-US" sz="2400" spc="-25" dirty="0"/>
              <a:t> </a:t>
            </a:r>
            <a:r>
              <a:rPr lang="en-US" sz="2400" dirty="0"/>
              <a:t>interface</a:t>
            </a:r>
            <a:r>
              <a:rPr lang="en-US" sz="2400" spc="-35" dirty="0"/>
              <a:t> </a:t>
            </a:r>
            <a:r>
              <a:rPr lang="en-US" sz="2400" dirty="0"/>
              <a:t>from</a:t>
            </a:r>
            <a:r>
              <a:rPr lang="en-US" sz="2400" spc="-30" dirty="0"/>
              <a:t> </a:t>
            </a:r>
            <a:r>
              <a:rPr lang="en-US" sz="2400" spc="-10" dirty="0" err="1"/>
              <a:t>java.lang</a:t>
            </a:r>
            <a:endParaRPr lang="en-US" sz="2400" spc="-10" dirty="0"/>
          </a:p>
          <a:p>
            <a:pPr marL="355600" marR="5080" indent="-343535">
              <a:lnSpc>
                <a:spcPct val="100000"/>
              </a:lnSpc>
              <a:spcBef>
                <a:spcPts val="484"/>
              </a:spcBef>
              <a:buChar char="•"/>
              <a:tabLst>
                <a:tab pos="355600" algn="l"/>
              </a:tabLst>
            </a:pPr>
            <a:r>
              <a:rPr lang="en-US" sz="2400" dirty="0"/>
              <a:t>Is</a:t>
            </a:r>
            <a:r>
              <a:rPr lang="en-US" sz="2400" spc="-25" dirty="0"/>
              <a:t> </a:t>
            </a:r>
            <a:r>
              <a:rPr lang="en-US" sz="2400" dirty="0"/>
              <a:t>implemented</a:t>
            </a:r>
            <a:r>
              <a:rPr lang="en-US" sz="2400" spc="-40" dirty="0"/>
              <a:t> </a:t>
            </a:r>
            <a:r>
              <a:rPr lang="en-US" sz="2400" dirty="0"/>
              <a:t>by</a:t>
            </a:r>
            <a:r>
              <a:rPr lang="en-US" sz="2400" spc="-20" dirty="0"/>
              <a:t> </a:t>
            </a:r>
            <a:r>
              <a:rPr lang="en-US" sz="2400" dirty="0"/>
              <a:t>a</a:t>
            </a:r>
            <a:r>
              <a:rPr lang="en-US" sz="2400" spc="-25" dirty="0"/>
              <a:t> </a:t>
            </a:r>
            <a:r>
              <a:rPr lang="en-US" sz="2400" dirty="0"/>
              <a:t>class</a:t>
            </a:r>
            <a:r>
              <a:rPr lang="en-US" sz="2400" spc="-30" dirty="0"/>
              <a:t> </a:t>
            </a:r>
            <a:r>
              <a:rPr lang="en-US" sz="2400" dirty="0"/>
              <a:t>in</a:t>
            </a:r>
            <a:r>
              <a:rPr lang="en-US" sz="2400" spc="-5" dirty="0"/>
              <a:t> </a:t>
            </a:r>
            <a:r>
              <a:rPr lang="en-US" sz="2400" dirty="0"/>
              <a:t>order</a:t>
            </a:r>
            <a:r>
              <a:rPr lang="en-US" sz="2400" spc="-45" dirty="0"/>
              <a:t> </a:t>
            </a:r>
            <a:r>
              <a:rPr lang="en-US" sz="2400" dirty="0"/>
              <a:t>to</a:t>
            </a:r>
            <a:r>
              <a:rPr lang="en-US" sz="2400" spc="-30" dirty="0"/>
              <a:t> </a:t>
            </a:r>
            <a:r>
              <a:rPr lang="en-US" sz="2400" dirty="0"/>
              <a:t>be</a:t>
            </a:r>
            <a:r>
              <a:rPr lang="en-US" sz="2400" spc="-10" dirty="0"/>
              <a:t> </a:t>
            </a:r>
            <a:r>
              <a:rPr lang="en-US" sz="2400" dirty="0"/>
              <a:t>able</a:t>
            </a:r>
            <a:r>
              <a:rPr lang="en-US" sz="2400" spc="-25" dirty="0"/>
              <a:t> </a:t>
            </a:r>
            <a:r>
              <a:rPr lang="en-US" sz="2400" dirty="0"/>
              <a:t>to</a:t>
            </a:r>
            <a:r>
              <a:rPr lang="en-US" sz="2400" spc="-30" dirty="0"/>
              <a:t> </a:t>
            </a:r>
            <a:r>
              <a:rPr lang="en-US" sz="2400" dirty="0"/>
              <a:t>compare</a:t>
            </a:r>
            <a:r>
              <a:rPr lang="en-US" sz="2400" spc="-50" dirty="0"/>
              <a:t> </a:t>
            </a:r>
            <a:r>
              <a:rPr lang="en-US" sz="2400" dirty="0"/>
              <a:t>object</a:t>
            </a:r>
            <a:r>
              <a:rPr lang="en-US" sz="2400" spc="-35" dirty="0"/>
              <a:t> </a:t>
            </a:r>
            <a:r>
              <a:rPr lang="en-US" sz="2400" spc="-25" dirty="0"/>
              <a:t>of </a:t>
            </a:r>
            <a:r>
              <a:rPr lang="en-US" sz="2400" dirty="0"/>
              <a:t>itself</a:t>
            </a:r>
            <a:r>
              <a:rPr lang="en-US" sz="2400" spc="-15" dirty="0"/>
              <a:t> </a:t>
            </a:r>
            <a:r>
              <a:rPr lang="en-US" sz="2400" dirty="0"/>
              <a:t>with</a:t>
            </a:r>
            <a:r>
              <a:rPr lang="en-US" sz="2400" spc="-15" dirty="0"/>
              <a:t> </a:t>
            </a:r>
            <a:r>
              <a:rPr lang="en-US" sz="2400" dirty="0"/>
              <a:t>other</a:t>
            </a:r>
            <a:r>
              <a:rPr lang="en-US" sz="2400" spc="-25" dirty="0"/>
              <a:t> </a:t>
            </a:r>
            <a:r>
              <a:rPr lang="en-US" sz="2400" dirty="0"/>
              <a:t>object</a:t>
            </a:r>
            <a:r>
              <a:rPr lang="en-US" sz="2400" spc="-30" dirty="0"/>
              <a:t> </a:t>
            </a:r>
            <a:r>
              <a:rPr lang="en-US" sz="2400" dirty="0"/>
              <a:t>of</a:t>
            </a:r>
            <a:r>
              <a:rPr lang="en-US" sz="2400" spc="-20" dirty="0"/>
              <a:t> </a:t>
            </a:r>
            <a:r>
              <a:rPr lang="en-US" sz="2400" dirty="0"/>
              <a:t>same</a:t>
            </a:r>
            <a:r>
              <a:rPr lang="en-US" sz="2400" spc="-30" dirty="0"/>
              <a:t> </a:t>
            </a:r>
            <a:r>
              <a:rPr lang="en-US" sz="2400" spc="-10" dirty="0"/>
              <a:t>class.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400" dirty="0"/>
              <a:t>Used</a:t>
            </a:r>
            <a:r>
              <a:rPr lang="en-US" sz="2400" spc="-45" dirty="0"/>
              <a:t> </a:t>
            </a:r>
            <a:r>
              <a:rPr lang="en-US" sz="2400" dirty="0"/>
              <a:t>only</a:t>
            </a:r>
            <a:r>
              <a:rPr lang="en-US" sz="2400" spc="-25" dirty="0"/>
              <a:t> </a:t>
            </a:r>
            <a:r>
              <a:rPr lang="en-US" sz="2400" dirty="0"/>
              <a:t>when</a:t>
            </a:r>
            <a:r>
              <a:rPr lang="en-US" sz="2400" spc="-30" dirty="0"/>
              <a:t> </a:t>
            </a:r>
            <a:r>
              <a:rPr lang="en-US" sz="2400" dirty="0"/>
              <a:t>you</a:t>
            </a:r>
            <a:r>
              <a:rPr lang="en-US" sz="2400" spc="-25" dirty="0"/>
              <a:t> </a:t>
            </a:r>
            <a:r>
              <a:rPr lang="en-US" sz="2400" dirty="0"/>
              <a:t>need</a:t>
            </a:r>
            <a:r>
              <a:rPr lang="en-US" sz="2400" spc="-30" dirty="0"/>
              <a:t> </a:t>
            </a:r>
            <a:r>
              <a:rPr lang="en-US" sz="2400" dirty="0"/>
              <a:t>one</a:t>
            </a:r>
            <a:r>
              <a:rPr lang="en-US" sz="2400" spc="-30" dirty="0"/>
              <a:t> </a:t>
            </a:r>
            <a:r>
              <a:rPr lang="en-US" sz="2400" dirty="0"/>
              <a:t>sorting</a:t>
            </a:r>
            <a:r>
              <a:rPr lang="en-US" sz="2400" spc="-60" dirty="0"/>
              <a:t> </a:t>
            </a:r>
            <a:r>
              <a:rPr lang="en-US" sz="2400" spc="-10" dirty="0"/>
              <a:t>sequence</a:t>
            </a:r>
          </a:p>
          <a:p>
            <a:pPr>
              <a:lnSpc>
                <a:spcPct val="100000"/>
              </a:lnSpc>
              <a:spcBef>
                <a:spcPts val="1060"/>
              </a:spcBef>
              <a:buFont typeface="Arial"/>
              <a:buChar char="•"/>
            </a:pPr>
            <a:endParaRPr lang="en-US" sz="2400" spc="-10" dirty="0"/>
          </a:p>
          <a:p>
            <a:pPr marL="12700">
              <a:lnSpc>
                <a:spcPct val="100000"/>
              </a:lnSpc>
            </a:pPr>
            <a:r>
              <a:rPr lang="en-US" sz="2400" b="1" spc="-10" dirty="0">
                <a:latin typeface="Arial"/>
                <a:cs typeface="Arial"/>
              </a:rPr>
              <a:t>Rules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400" dirty="0"/>
              <a:t>The</a:t>
            </a:r>
            <a:r>
              <a:rPr lang="en-US" sz="2400" spc="-25" dirty="0"/>
              <a:t> </a:t>
            </a:r>
            <a:r>
              <a:rPr lang="en-US" sz="2400" dirty="0"/>
              <a:t>class</a:t>
            </a:r>
            <a:r>
              <a:rPr lang="en-US" sz="2400" spc="-30" dirty="0"/>
              <a:t> </a:t>
            </a:r>
            <a:r>
              <a:rPr lang="en-US" sz="2400" dirty="0"/>
              <a:t>itself</a:t>
            </a:r>
            <a:r>
              <a:rPr lang="en-US" sz="2400" spc="-20" dirty="0"/>
              <a:t> </a:t>
            </a:r>
            <a:r>
              <a:rPr lang="en-US" sz="2400" dirty="0"/>
              <a:t>must</a:t>
            </a:r>
            <a:r>
              <a:rPr lang="en-US" sz="2400" spc="-40" dirty="0"/>
              <a:t> </a:t>
            </a:r>
            <a:r>
              <a:rPr lang="en-US" sz="2400" dirty="0"/>
              <a:t>implement</a:t>
            </a:r>
            <a:r>
              <a:rPr lang="en-US" sz="2400" spc="-30" dirty="0"/>
              <a:t> </a:t>
            </a:r>
            <a:r>
              <a:rPr lang="en-US" sz="2400" dirty="0"/>
              <a:t>the</a:t>
            </a:r>
            <a:r>
              <a:rPr lang="en-US" sz="2400" spc="-30" dirty="0"/>
              <a:t> </a:t>
            </a:r>
            <a:r>
              <a:rPr lang="en-US" sz="2400" spc="-10" dirty="0"/>
              <a:t>interface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400" dirty="0"/>
              <a:t>Implement</a:t>
            </a:r>
            <a:r>
              <a:rPr lang="en-US" sz="2400" spc="-30" dirty="0"/>
              <a:t> </a:t>
            </a:r>
            <a:r>
              <a:rPr lang="en-US" sz="2400" spc="-20" dirty="0" err="1"/>
              <a:t>compareTo</a:t>
            </a:r>
            <a:r>
              <a:rPr lang="en-US" sz="2400" spc="-20" dirty="0"/>
              <a:t>(Object</a:t>
            </a:r>
            <a:r>
              <a:rPr lang="en-US" sz="2400" spc="-55" dirty="0"/>
              <a:t> </a:t>
            </a:r>
            <a:r>
              <a:rPr lang="en-US" sz="2400" dirty="0"/>
              <a:t>o)</a:t>
            </a:r>
            <a:r>
              <a:rPr lang="en-US" sz="2400" spc="-5" dirty="0"/>
              <a:t> </a:t>
            </a:r>
            <a:r>
              <a:rPr lang="en-US" sz="2400" spc="-10" dirty="0"/>
              <a:t>method.</a:t>
            </a:r>
          </a:p>
          <a:p>
            <a:pPr marL="355600" indent="-342900">
              <a:lnSpc>
                <a:spcPct val="100000"/>
              </a:lnSpc>
              <a:spcBef>
                <a:spcPts val="480"/>
              </a:spcBef>
              <a:buChar char="•"/>
              <a:tabLst>
                <a:tab pos="355600" algn="l"/>
              </a:tabLst>
            </a:pPr>
            <a:r>
              <a:rPr lang="en-US" sz="2400" dirty="0"/>
              <a:t>Call</a:t>
            </a:r>
            <a:r>
              <a:rPr lang="en-US" sz="2400" spc="-20" dirty="0"/>
              <a:t> </a:t>
            </a:r>
            <a:r>
              <a:rPr lang="en-US" sz="2400" b="1" dirty="0" err="1">
                <a:latin typeface="Arial"/>
                <a:cs typeface="Arial"/>
              </a:rPr>
              <a:t>Collections.sort</a:t>
            </a:r>
            <a:r>
              <a:rPr lang="en-US" sz="2400" b="1" dirty="0">
                <a:latin typeface="Arial"/>
                <a:cs typeface="Arial"/>
              </a:rPr>
              <a:t>(List</a:t>
            </a:r>
            <a:r>
              <a:rPr lang="en-US" sz="2400" b="1" spc="-60" dirty="0">
                <a:latin typeface="Arial"/>
                <a:cs typeface="Arial"/>
              </a:rPr>
              <a:t> </a:t>
            </a:r>
            <a:r>
              <a:rPr lang="en-US" sz="2400" b="1" dirty="0">
                <a:latin typeface="Arial"/>
                <a:cs typeface="Arial"/>
              </a:rPr>
              <a:t>list)</a:t>
            </a:r>
            <a:r>
              <a:rPr lang="en-US" sz="2400" b="1" spc="-45" dirty="0">
                <a:latin typeface="Arial"/>
                <a:cs typeface="Arial"/>
              </a:rPr>
              <a:t> </a:t>
            </a:r>
            <a:r>
              <a:rPr lang="en-US" sz="2400" dirty="0"/>
              <a:t>method</a:t>
            </a:r>
            <a:r>
              <a:rPr lang="en-US" sz="2400" spc="-30" dirty="0"/>
              <a:t> </a:t>
            </a:r>
            <a:r>
              <a:rPr lang="en-US" sz="2400" dirty="0"/>
              <a:t>to</a:t>
            </a:r>
            <a:r>
              <a:rPr lang="en-US" sz="2400" spc="-10" dirty="0"/>
              <a:t> </a:t>
            </a:r>
            <a:r>
              <a:rPr lang="en-US" sz="2400" dirty="0"/>
              <a:t>sort</a:t>
            </a:r>
            <a:r>
              <a:rPr lang="en-US" sz="2400" spc="-45" dirty="0"/>
              <a:t> </a:t>
            </a:r>
            <a:r>
              <a:rPr lang="en-US" sz="2400" dirty="0"/>
              <a:t>the</a:t>
            </a:r>
            <a:r>
              <a:rPr lang="en-US" sz="2400" spc="-20" dirty="0"/>
              <a:t> </a:t>
            </a:r>
            <a:r>
              <a:rPr lang="en-US" sz="2400" spc="-10" dirty="0"/>
              <a:t>collection</a:t>
            </a:r>
          </a:p>
        </p:txBody>
      </p:sp>
    </p:spTree>
    <p:extLst>
      <p:ext uri="{BB962C8B-B14F-4D97-AF65-F5344CB8AC3E}">
        <p14:creationId xmlns:p14="http://schemas.microsoft.com/office/powerpoint/2010/main" val="119567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ABA002-46D0-719A-B6B6-18DA48602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F9E5E4F-639F-C188-ABDF-B362FDCEB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9E5E4F-639F-C188-ABDF-B362FDCEB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82139D35-326A-C0F9-BE23-CF515EDF73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B0CE1BE-8264-F37F-B9A9-DB5360EF78D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78D1AC0-B76A-5E1C-1170-FD8943D6A4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DF89490-079E-FB6F-7272-48A65D1AF8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3A0060D-CA79-599A-B793-7E77019276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F765A79-F3C8-DFAB-F124-E6B8E78961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438DE1C-C32B-6011-A76D-17E9EEB83D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D312B7B-52B9-93ED-1935-BAC396EC0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40" dirty="0"/>
              <a:t> </a:t>
            </a:r>
            <a:r>
              <a:rPr lang="en-US" sz="3200" dirty="0"/>
              <a:t>–</a:t>
            </a:r>
            <a:r>
              <a:rPr lang="en-US" sz="3200" spc="-20" dirty="0"/>
              <a:t> </a:t>
            </a:r>
            <a:r>
              <a:rPr lang="en-US" sz="3200" dirty="0"/>
              <a:t>implementing</a:t>
            </a:r>
            <a:r>
              <a:rPr lang="en-US" sz="3200" spc="-40" dirty="0"/>
              <a:t> </a:t>
            </a:r>
            <a:r>
              <a:rPr lang="en-US" sz="3200" spc="-10" dirty="0"/>
              <a:t>Comparable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7EC140E9-1D06-7FE9-9CAD-80C048CA8A5B}"/>
              </a:ext>
            </a:extLst>
          </p:cNvPr>
          <p:cNvGrpSpPr/>
          <p:nvPr/>
        </p:nvGrpSpPr>
        <p:grpSpPr>
          <a:xfrm>
            <a:off x="680146" y="1242091"/>
            <a:ext cx="7002780" cy="3977640"/>
            <a:chOff x="601980" y="1836420"/>
            <a:chExt cx="7002780" cy="397764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25D8A643-282E-77C7-3313-24A6DC59B20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11124" y="1845563"/>
              <a:ext cx="6984492" cy="3959352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B4BE84C8-763B-1119-A670-942EF79B07FA}"/>
                </a:ext>
              </a:extLst>
            </p:cNvPr>
            <p:cNvSpPr/>
            <p:nvPr/>
          </p:nvSpPr>
          <p:spPr>
            <a:xfrm>
              <a:off x="606552" y="1840992"/>
              <a:ext cx="6993890" cy="3968750"/>
            </a:xfrm>
            <a:custGeom>
              <a:avLst/>
              <a:gdLst/>
              <a:ahLst/>
              <a:cxnLst/>
              <a:rect l="l" t="t" r="r" b="b"/>
              <a:pathLst>
                <a:path w="6993890" h="3968750">
                  <a:moveTo>
                    <a:pt x="0" y="3968496"/>
                  </a:moveTo>
                  <a:lnTo>
                    <a:pt x="6993635" y="3968496"/>
                  </a:lnTo>
                  <a:lnTo>
                    <a:pt x="6993635" y="0"/>
                  </a:lnTo>
                  <a:lnTo>
                    <a:pt x="0" y="0"/>
                  </a:lnTo>
                  <a:lnTo>
                    <a:pt x="0" y="396849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144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CAD6F1-8019-0834-DB7F-2D035808D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0B85AC1-11C9-2815-2331-4EED829A0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B85AC1-11C9-2815-2331-4EED829A0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BB187C5-F90B-5BEC-84ED-1D81F88873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8019CB1-5330-3476-D606-7D8E3CA7D118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EB4B6D6-FBB3-0BD1-1C89-97697A0745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7F01D33-0640-B9AD-D3A6-74A6CA593E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537AB59-AB4D-19B9-142F-9352743967B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E86B6F2-F4F8-AF44-E028-6609360829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238462E-0ABC-3E35-AB34-DABF3EEB75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91D1086-48A0-D961-765D-8927C3A31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dirty="0"/>
              <a:t>Example</a:t>
            </a:r>
            <a:r>
              <a:rPr lang="en-US" sz="3200" spc="-45" dirty="0"/>
              <a:t> </a:t>
            </a:r>
            <a:r>
              <a:rPr lang="en-US" sz="3200" dirty="0"/>
              <a:t>–</a:t>
            </a:r>
            <a:r>
              <a:rPr lang="en-US" sz="3200" spc="-30" dirty="0"/>
              <a:t> </a:t>
            </a:r>
            <a:r>
              <a:rPr lang="en-US" sz="3200" dirty="0"/>
              <a:t>calling</a:t>
            </a:r>
            <a:r>
              <a:rPr lang="en-US" sz="3200" spc="-50" dirty="0"/>
              <a:t> </a:t>
            </a:r>
            <a:r>
              <a:rPr lang="en-US" sz="3200" dirty="0"/>
              <a:t>sort()</a:t>
            </a:r>
            <a:r>
              <a:rPr lang="en-US" sz="3200" spc="-30" dirty="0"/>
              <a:t> </a:t>
            </a:r>
            <a:r>
              <a:rPr lang="en-US" sz="3200" spc="-10" dirty="0"/>
              <a:t>method </a:t>
            </a:r>
            <a:r>
              <a:rPr lang="en-IN" sz="2000" b="1" dirty="0"/>
              <a:t>:</a:t>
            </a:r>
            <a:br>
              <a:rPr lang="en-IN" sz="2000" b="1" dirty="0"/>
            </a:br>
            <a:endParaRPr lang="en-US" sz="2000" dirty="0"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709F1401-6B9C-8C3D-8139-AC742E898DBA}"/>
              </a:ext>
            </a:extLst>
          </p:cNvPr>
          <p:cNvGrpSpPr/>
          <p:nvPr/>
        </p:nvGrpSpPr>
        <p:grpSpPr>
          <a:xfrm>
            <a:off x="313943" y="1754123"/>
            <a:ext cx="8592820" cy="4281170"/>
            <a:chOff x="313943" y="1754123"/>
            <a:chExt cx="8592820" cy="428117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0482951F-A980-790B-B704-7C81459B70C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23087" y="1763267"/>
              <a:ext cx="6629400" cy="4258056"/>
            </a:xfrm>
            <a:prstGeom prst="rect">
              <a:avLst/>
            </a:prstGeom>
          </p:spPr>
        </p:pic>
        <p:sp>
          <p:nvSpPr>
            <p:cNvPr id="5" name="object 5">
              <a:extLst>
                <a:ext uri="{FF2B5EF4-FFF2-40B4-BE49-F238E27FC236}">
                  <a16:creationId xmlns:a16="http://schemas.microsoft.com/office/drawing/2014/main" id="{ABBBC6AE-F7EB-C7AD-974F-0F37682C4F80}"/>
                </a:ext>
              </a:extLst>
            </p:cNvPr>
            <p:cNvSpPr/>
            <p:nvPr/>
          </p:nvSpPr>
          <p:spPr>
            <a:xfrm>
              <a:off x="318515" y="1758695"/>
              <a:ext cx="6638925" cy="4267200"/>
            </a:xfrm>
            <a:custGeom>
              <a:avLst/>
              <a:gdLst/>
              <a:ahLst/>
              <a:cxnLst/>
              <a:rect l="l" t="t" r="r" b="b"/>
              <a:pathLst>
                <a:path w="6638925" h="4267200">
                  <a:moveTo>
                    <a:pt x="0" y="4267200"/>
                  </a:moveTo>
                  <a:lnTo>
                    <a:pt x="6638544" y="4267200"/>
                  </a:lnTo>
                  <a:lnTo>
                    <a:pt x="6638544" y="0"/>
                  </a:lnTo>
                  <a:lnTo>
                    <a:pt x="0" y="0"/>
                  </a:lnTo>
                  <a:lnTo>
                    <a:pt x="0" y="426720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6">
              <a:extLst>
                <a:ext uri="{FF2B5EF4-FFF2-40B4-BE49-F238E27FC236}">
                  <a16:creationId xmlns:a16="http://schemas.microsoft.com/office/drawing/2014/main" id="{1F5EE9AC-D9D6-B058-9A9F-21EA56AFDCE5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428743" y="3645407"/>
              <a:ext cx="4463796" cy="2130552"/>
            </a:xfrm>
            <a:prstGeom prst="rect">
              <a:avLst/>
            </a:prstGeom>
          </p:spPr>
        </p:pic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D3C29E9F-730E-A308-4167-2DF476E4DD4E}"/>
                </a:ext>
              </a:extLst>
            </p:cNvPr>
            <p:cNvSpPr/>
            <p:nvPr/>
          </p:nvSpPr>
          <p:spPr>
            <a:xfrm>
              <a:off x="4356353" y="3573017"/>
              <a:ext cx="4537075" cy="2449195"/>
            </a:xfrm>
            <a:custGeom>
              <a:avLst/>
              <a:gdLst/>
              <a:ahLst/>
              <a:cxnLst/>
              <a:rect l="l" t="t" r="r" b="b"/>
              <a:pathLst>
                <a:path w="4537075" h="2449195">
                  <a:moveTo>
                    <a:pt x="0" y="2449067"/>
                  </a:moveTo>
                  <a:lnTo>
                    <a:pt x="4536948" y="2449067"/>
                  </a:lnTo>
                  <a:lnTo>
                    <a:pt x="4536948" y="0"/>
                  </a:lnTo>
                  <a:lnTo>
                    <a:pt x="0" y="0"/>
                  </a:lnTo>
                  <a:lnTo>
                    <a:pt x="0" y="2449067"/>
                  </a:lnTo>
                  <a:close/>
                </a:path>
              </a:pathLst>
            </a:custGeom>
            <a:ln w="2590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5576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men Grid 16:9 - 25668">
  <a:themeElements>
    <a:clrScheme name="Custom 1">
      <a:dk1>
        <a:srgbClr val="000000"/>
      </a:dk1>
      <a:lt1>
        <a:srgbClr val="FFFFFF"/>
      </a:lt1>
      <a:dk2>
        <a:srgbClr val="38C6F3"/>
      </a:dk2>
      <a:lt2>
        <a:srgbClr val="F2F2F2"/>
      </a:lt2>
      <a:accent1>
        <a:srgbClr val="083076"/>
      </a:accent1>
      <a:accent2>
        <a:srgbClr val="0075C9"/>
      </a:accent2>
      <a:accent3>
        <a:srgbClr val="FF9E18"/>
      </a:accent3>
      <a:accent4>
        <a:srgbClr val="0C9ED9"/>
      </a:accent4>
      <a:accent5>
        <a:srgbClr val="B3B3B3"/>
      </a:accent5>
      <a:accent6>
        <a:srgbClr val="E77528"/>
      </a:accent6>
      <a:hlink>
        <a:srgbClr val="E1251B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8C6F3"/>
        </a:solidFill>
        <a:ln w="9525" cap="rnd" cmpd="sng" algn="ctr">
          <a:solidFill>
            <a:srgbClr val="38C6F3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docMetadata/LabelInfo.xml><?xml version="1.0" encoding="utf-8"?>
<clbl:labelList xmlns:clbl="http://schemas.microsoft.com/office/2020/mipLabelMetadata">
  <clbl:label id="{72b17115-9915-42c0-9f1b-4f98e5a4bcd2}" enabled="0" method="" siteId="{72b17115-9915-42c0-9f1b-4f98e5a4bc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069</TotalTime>
  <Words>4917</Words>
  <Application>Microsoft Office PowerPoint</Application>
  <PresentationFormat>On-screen Show (4:3)</PresentationFormat>
  <Paragraphs>886</Paragraphs>
  <Slides>10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5</vt:i4>
      </vt:variant>
    </vt:vector>
  </HeadingPairs>
  <TitlesOfParts>
    <vt:vector size="117" baseType="lpstr">
      <vt:lpstr>Arial</vt:lpstr>
      <vt:lpstr>Arial Black</vt:lpstr>
      <vt:lpstr>Calibri</vt:lpstr>
      <vt:lpstr>Carlito</vt:lpstr>
      <vt:lpstr>Consolas</vt:lpstr>
      <vt:lpstr>Courier New</vt:lpstr>
      <vt:lpstr>inter-regular</vt:lpstr>
      <vt:lpstr>Times New Roman</vt:lpstr>
      <vt:lpstr>Trebuchet MS</vt:lpstr>
      <vt:lpstr>Wingdings</vt:lpstr>
      <vt:lpstr>Lumen Grid 16:9 - 25668</vt:lpstr>
      <vt:lpstr>think-cell Slide</vt:lpstr>
      <vt:lpstr> </vt:lpstr>
      <vt:lpstr> </vt:lpstr>
      <vt:lpstr>Contents :</vt:lpstr>
      <vt:lpstr> </vt:lpstr>
      <vt:lpstr> </vt:lpstr>
      <vt:lpstr> </vt:lpstr>
      <vt:lpstr> </vt:lpstr>
      <vt:lpstr> </vt:lpstr>
      <vt:lpstr> 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 </vt:lpstr>
      <vt:lpstr> </vt:lpstr>
      <vt:lpstr> </vt:lpstr>
      <vt:lpstr> </vt:lpstr>
      <vt:lpstr> 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nts: </vt:lpstr>
      <vt:lpstr>What is Exception : </vt:lpstr>
      <vt:lpstr>Unhandled Exceptions :</vt:lpstr>
      <vt:lpstr>Example:</vt:lpstr>
      <vt:lpstr>PowerPoint Presentation</vt:lpstr>
      <vt:lpstr>Types of Exception</vt:lpstr>
      <vt:lpstr>Error:</vt:lpstr>
      <vt:lpstr>Examples of inbuilt Exceptions</vt:lpstr>
      <vt:lpstr>Exception Handling keywords:</vt:lpstr>
      <vt:lpstr>More on try-catch</vt:lpstr>
      <vt:lpstr>Example for try – catch :</vt:lpstr>
      <vt:lpstr>Example for try-catch-catch</vt:lpstr>
      <vt:lpstr>Multiple Catch</vt:lpstr>
      <vt:lpstr>Finally :</vt:lpstr>
      <vt:lpstr>Example of try-catch-finally/try-finally :</vt:lpstr>
      <vt:lpstr>Throw :</vt:lpstr>
      <vt:lpstr>More on throw :</vt:lpstr>
      <vt:lpstr>Example for throw :</vt:lpstr>
      <vt:lpstr>Throws :</vt:lpstr>
      <vt:lpstr>Example for throws :</vt:lpstr>
      <vt:lpstr>Custom Exceptions :</vt:lpstr>
      <vt:lpstr>Example for custom exception :</vt:lpstr>
      <vt:lpstr>Example for custom exception :</vt:lpstr>
      <vt:lpstr>Rules for overriding Exception :</vt:lpstr>
      <vt:lpstr>Try with resources :</vt:lpstr>
      <vt:lpstr>Try with resources :</vt:lpstr>
      <vt:lpstr>Example for try with resources:</vt:lpstr>
      <vt:lpstr>PowerPoint Presentation</vt:lpstr>
      <vt:lpstr>Contents: </vt:lpstr>
      <vt:lpstr>Few classes in Lang Package :</vt:lpstr>
      <vt:lpstr>Object:</vt:lpstr>
      <vt:lpstr>Use of toString() : </vt:lpstr>
      <vt:lpstr>Cloning : </vt:lpstr>
      <vt:lpstr>Shallow Cloning : </vt:lpstr>
      <vt:lpstr>Student.java</vt:lpstr>
      <vt:lpstr>CloneDemo.java</vt:lpstr>
      <vt:lpstr>Hashcode and equals : </vt:lpstr>
      <vt:lpstr>Contract : </vt:lpstr>
      <vt:lpstr>Wrapper Classes : </vt:lpstr>
      <vt:lpstr>Conversions : </vt:lpstr>
      <vt:lpstr>String to PDT : </vt:lpstr>
      <vt:lpstr>PDT to String : </vt:lpstr>
      <vt:lpstr>PDT to Object- Autoboxing :</vt:lpstr>
      <vt:lpstr>Object to String : </vt:lpstr>
      <vt:lpstr>String : </vt:lpstr>
      <vt:lpstr>StringBuffer:</vt:lpstr>
      <vt:lpstr>StringBuilder:</vt:lpstr>
      <vt:lpstr>PowerPoint Presentation</vt:lpstr>
      <vt:lpstr>Contents: </vt:lpstr>
      <vt:lpstr>Collection Framework: </vt:lpstr>
      <vt:lpstr>Interfaces: </vt:lpstr>
      <vt:lpstr>List : </vt:lpstr>
      <vt:lpstr>ArrayList : </vt:lpstr>
      <vt:lpstr>Example adding Customer objects: </vt:lpstr>
      <vt:lpstr>Iterator and ListIterator: </vt:lpstr>
      <vt:lpstr>Example for Iterator: </vt:lpstr>
      <vt:lpstr>Example for ListIterator for reversing the list: </vt:lpstr>
      <vt:lpstr>LinkedList : </vt:lpstr>
      <vt:lpstr>Example for LinkedList: </vt:lpstr>
      <vt:lpstr>Set : </vt:lpstr>
      <vt:lpstr>HashSet : </vt:lpstr>
      <vt:lpstr>Example for Hashset : </vt:lpstr>
      <vt:lpstr>LinkedHashSet : </vt:lpstr>
      <vt:lpstr>TreeSet : </vt:lpstr>
      <vt:lpstr>Map : </vt:lpstr>
      <vt:lpstr>HashMap : </vt:lpstr>
      <vt:lpstr>ConcurrentMap : </vt:lpstr>
      <vt:lpstr>Comparable : </vt:lpstr>
      <vt:lpstr>Example – implementing Comparable : </vt:lpstr>
      <vt:lpstr>Example – calling sort() method : </vt:lpstr>
      <vt:lpstr>Comparator:</vt:lpstr>
      <vt:lpstr>Example - implementing Comparator : </vt:lpstr>
      <vt:lpstr>Example - using sort() method : </vt:lpstr>
      <vt:lpstr>Using Method references - static : </vt:lpstr>
      <vt:lpstr>Using Method references - instance :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dia</dc:creator>
  <cp:lastModifiedBy>Padhy, Bimal</cp:lastModifiedBy>
  <cp:revision>63</cp:revision>
  <dcterms:created xsi:type="dcterms:W3CDTF">2006-08-16T00:00:00Z</dcterms:created>
  <dcterms:modified xsi:type="dcterms:W3CDTF">2024-03-06T15:44:53Z</dcterms:modified>
</cp:coreProperties>
</file>